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Default Extension="tiff" ContentType="image/tiff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13.xml" ContentType="application/vnd.openxmlformats-officedocument.theme+xml"/>
  <Override PartName="/ppt/theme/theme12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16" r:id="rId1"/>
    <p:sldMasterId id="2147483678" r:id="rId2"/>
    <p:sldMasterId id="2147483708" r:id="rId3"/>
    <p:sldMasterId id="2147483739" r:id="rId4"/>
    <p:sldMasterId id="2147483768" r:id="rId5"/>
    <p:sldMasterId id="2147483789" r:id="rId6"/>
    <p:sldMasterId id="2147483810" r:id="rId7"/>
    <p:sldMasterId id="2147483824" r:id="rId8"/>
    <p:sldMasterId id="2147483842" r:id="rId9"/>
    <p:sldMasterId id="2147483854" r:id="rId10"/>
    <p:sldMasterId id="2147483859" r:id="rId11"/>
  </p:sldMasterIdLst>
  <p:notesMasterIdLst>
    <p:notesMasterId r:id="rId63"/>
  </p:notesMasterIdLst>
  <p:handoutMasterIdLst>
    <p:handoutMasterId r:id="rId64"/>
  </p:handoutMasterIdLst>
  <p:sldIdLst>
    <p:sldId id="418" r:id="rId12"/>
    <p:sldId id="428" r:id="rId13"/>
    <p:sldId id="429" r:id="rId14"/>
    <p:sldId id="430" r:id="rId15"/>
    <p:sldId id="431" r:id="rId16"/>
    <p:sldId id="432" r:id="rId17"/>
    <p:sldId id="433" r:id="rId18"/>
    <p:sldId id="434" r:id="rId19"/>
    <p:sldId id="435" r:id="rId20"/>
    <p:sldId id="436" r:id="rId21"/>
    <p:sldId id="437" r:id="rId22"/>
    <p:sldId id="438" r:id="rId23"/>
    <p:sldId id="439" r:id="rId24"/>
    <p:sldId id="440" r:id="rId25"/>
    <p:sldId id="441" r:id="rId26"/>
    <p:sldId id="442" r:id="rId27"/>
    <p:sldId id="443" r:id="rId28"/>
    <p:sldId id="444" r:id="rId29"/>
    <p:sldId id="445" r:id="rId30"/>
    <p:sldId id="446" r:id="rId31"/>
    <p:sldId id="447" r:id="rId32"/>
    <p:sldId id="448" r:id="rId33"/>
    <p:sldId id="449" r:id="rId34"/>
    <p:sldId id="450" r:id="rId35"/>
    <p:sldId id="451" r:id="rId36"/>
    <p:sldId id="452" r:id="rId37"/>
    <p:sldId id="453" r:id="rId38"/>
    <p:sldId id="454" r:id="rId39"/>
    <p:sldId id="455" r:id="rId40"/>
    <p:sldId id="456" r:id="rId41"/>
    <p:sldId id="457" r:id="rId42"/>
    <p:sldId id="458" r:id="rId43"/>
    <p:sldId id="459" r:id="rId44"/>
    <p:sldId id="460" r:id="rId45"/>
    <p:sldId id="461" r:id="rId46"/>
    <p:sldId id="462" r:id="rId47"/>
    <p:sldId id="463" r:id="rId48"/>
    <p:sldId id="464" r:id="rId49"/>
    <p:sldId id="465" r:id="rId50"/>
    <p:sldId id="466" r:id="rId51"/>
    <p:sldId id="467" r:id="rId52"/>
    <p:sldId id="468" r:id="rId53"/>
    <p:sldId id="469" r:id="rId54"/>
    <p:sldId id="470" r:id="rId55"/>
    <p:sldId id="471" r:id="rId56"/>
    <p:sldId id="472" r:id="rId57"/>
    <p:sldId id="473" r:id="rId58"/>
    <p:sldId id="474" r:id="rId59"/>
    <p:sldId id="475" r:id="rId60"/>
    <p:sldId id="476" r:id="rId61"/>
    <p:sldId id="477" r:id="rId62"/>
  </p:sldIdLst>
  <p:sldSz cx="9144000" cy="6858000" type="screen4x3"/>
  <p:notesSz cx="6761163" cy="99425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45" userDrawn="1">
          <p15:clr>
            <a:srgbClr val="A4A3A4"/>
          </p15:clr>
        </p15:guide>
        <p15:guide id="2" orient="horz" pos="1842" userDrawn="1">
          <p15:clr>
            <a:srgbClr val="A4A3A4"/>
          </p15:clr>
        </p15:guide>
        <p15:guide id="3" pos="5035" userDrawn="1">
          <p15:clr>
            <a:srgbClr val="A4A3A4"/>
          </p15:clr>
        </p15:guide>
        <p15:guide id="4" pos="158" userDrawn="1">
          <p15:clr>
            <a:srgbClr val="A4A3A4"/>
          </p15:clr>
        </p15:guide>
        <p15:guide id="5" orient="horz" pos="4156" userDrawn="1">
          <p15:clr>
            <a:srgbClr val="A4A3A4"/>
          </p15:clr>
        </p15:guide>
        <p15:guide id="6" orient="horz" pos="6">
          <p15:clr>
            <a:srgbClr val="A4A3A4"/>
          </p15:clr>
        </p15:guide>
        <p15:guide id="7" orient="horz" pos="3657" userDrawn="1">
          <p15:clr>
            <a:srgbClr val="A4A3A4"/>
          </p15:clr>
        </p15:guide>
        <p15:guide id="8" orient="horz" pos="2160">
          <p15:clr>
            <a:srgbClr val="A4A3A4"/>
          </p15:clr>
        </p15:guide>
        <p15:guide id="9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8" userDrawn="1">
          <p15:clr>
            <a:srgbClr val="A4A3A4"/>
          </p15:clr>
        </p15:guide>
        <p15:guide id="2" pos="1955" userDrawn="1">
          <p15:clr>
            <a:srgbClr val="A4A3A4"/>
          </p15:clr>
        </p15:guide>
        <p15:guide id="3" orient="horz" pos="3029" userDrawn="1">
          <p15:clr>
            <a:srgbClr val="A4A3A4"/>
          </p15:clr>
        </p15:guide>
        <p15:guide id="4" pos="2034" userDrawn="1">
          <p15:clr>
            <a:srgbClr val="A4A3A4"/>
          </p15:clr>
        </p15:guide>
        <p15:guide id="5" orient="horz" pos="3038" userDrawn="1">
          <p15:clr>
            <a:srgbClr val="A4A3A4"/>
          </p15:clr>
        </p15:guide>
        <p15:guide id="6" orient="horz" pos="3133" userDrawn="1">
          <p15:clr>
            <a:srgbClr val="A4A3A4"/>
          </p15:clr>
        </p15:guide>
        <p15:guide id="7" pos="2047" userDrawn="1">
          <p15:clr>
            <a:srgbClr val="A4A3A4"/>
          </p15:clr>
        </p15:guide>
        <p15:guide id="8" pos="213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AC"/>
    <a:srgbClr val="F8F8F8"/>
    <a:srgbClr val="000099"/>
    <a:srgbClr val="008FFA"/>
    <a:srgbClr val="3333FF"/>
    <a:srgbClr val="7575FF"/>
    <a:srgbClr val="8585FF"/>
    <a:srgbClr val="5B5BFF"/>
    <a:srgbClr val="8F8FFF"/>
    <a:srgbClr val="5257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52" autoAdjust="0"/>
    <p:restoredTop sz="96650"/>
  </p:normalViewPr>
  <p:slideViewPr>
    <p:cSldViewPr snapToGrid="0" snapToObjects="1">
      <p:cViewPr varScale="1">
        <p:scale>
          <a:sx n="159" d="100"/>
          <a:sy n="159" d="100"/>
        </p:scale>
        <p:origin x="4650" y="144"/>
      </p:cViewPr>
      <p:guideLst>
        <p:guide orient="horz" pos="3045"/>
        <p:guide orient="horz" pos="1842"/>
        <p:guide pos="5035"/>
        <p:guide pos="158"/>
        <p:guide orient="horz" pos="4156"/>
        <p:guide orient="horz" pos="6"/>
        <p:guide orient="horz" pos="3657"/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>
        <p:guide orient="horz" pos="2938"/>
        <p:guide pos="1955"/>
        <p:guide orient="horz" pos="3029"/>
        <p:guide pos="2034"/>
        <p:guide orient="horz" pos="3038"/>
        <p:guide orient="horz" pos="3133"/>
        <p:guide pos="2047"/>
        <p:guide pos="213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71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0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handoutMaster" Target="handoutMasters/handoutMaster1.xml"/><Relationship Id="rId69" Type="http://schemas.openxmlformats.org/officeDocument/2006/relationships/customXml" Target="../customXml/item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0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7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Relationship Id="rId34" Type="http://schemas.openxmlformats.org/officeDocument/2006/relationships/slide" Target="slides/slide23.xml"/><Relationship Id="rId50" Type="http://schemas.openxmlformats.org/officeDocument/2006/relationships/slide" Target="slides/slide39.xml"/><Relationship Id="rId55" Type="http://schemas.openxmlformats.org/officeDocument/2006/relationships/slide" Target="slides/slide4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 dirty="0">
              <a:latin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1F8E63-2184-184C-8136-195F83993144}" type="datetimeFigureOut">
              <a:rPr lang="en-US" smtClean="0">
                <a:latin typeface="Calibri" panose="020F0502020204030204" pitchFamily="34" charset="0"/>
              </a:rPr>
              <a:t>3/25/2021</a:t>
            </a:fld>
            <a:endParaRPr lang="en-CA" dirty="0">
              <a:latin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305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 dirty="0">
              <a:latin typeface="Calibri" panose="020F050202020403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29050" y="9444038"/>
            <a:ext cx="29305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EC890A-D385-C04F-A5BF-8D3B98CE7B01}" type="slidenum">
              <a:rPr lang="en-CA" smtClean="0">
                <a:latin typeface="Calibri" panose="020F0502020204030204" pitchFamily="34" charset="0"/>
              </a:rPr>
              <a:t>‹#›</a:t>
            </a:fld>
            <a:endParaRPr lang="en-CA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985076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29050" y="0"/>
            <a:ext cx="29305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CB46B20D-3B3C-4C4B-A74F-1AA6080D5DE9}" type="datetimeFigureOut">
              <a:rPr lang="en-US" smtClean="0"/>
              <a:pPr/>
              <a:t>3/25/2021</a:t>
            </a:fld>
            <a:endParaRPr lang="en-C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6275" y="4722813"/>
            <a:ext cx="5408613" cy="44735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305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C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29050" y="9444038"/>
            <a:ext cx="29305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605CA715-963B-0448-ABF4-1EFBFB0CF9BE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288038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322F6E-CFF4-4F9B-86FC-139231D32D6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018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322F6E-CFF4-4F9B-86FC-139231D32D6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4219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37F159-A88B-450E-86EE-34540919DB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6608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.xml"/><Relationship Id="rId4" Type="http://schemas.openxmlformats.org/officeDocument/2006/relationships/image" Target="NUL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C6D35CB1-C169-4602-9535-97C6BF7E7694}" type="datetimeFigureOut">
              <a:rPr lang="en-CA" smtClean="0"/>
              <a:t>2021-03-25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674D3-2133-49FC-807F-CA49533BC64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26430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593716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84676" y="6605978"/>
            <a:ext cx="548640" cy="163122"/>
          </a:xfrm>
          <a:prstGeom prst="rect">
            <a:avLst/>
          </a:prstGeom>
        </p:spPr>
        <p:txBody>
          <a:bodyPr/>
          <a:lstStyle>
            <a:lvl1pPr algn="ctr" eaLnBrk="0" hangingPunct="0">
              <a:lnSpc>
                <a:spcPct val="106000"/>
              </a:lnSpc>
              <a:buSzPct val="100000"/>
              <a:buFont typeface="Wingdings 2" pitchFamily="18" charset="2"/>
              <a:buNone/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A2CB195-FDE1-4330-95FD-5BB79EF58721}" type="slidenum">
              <a:rPr lang="en-CA"/>
              <a:pPr>
                <a:defRPr/>
              </a:pPr>
              <a:t>‹#›</a:t>
            </a:fld>
            <a:endParaRPr lang="en-CA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0999" y="180105"/>
            <a:ext cx="8412480" cy="594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923" tIns="50923" rIns="50923" bIns="509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GB" noProof="0" dirty="0"/>
              <a:t>Insert section tit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80999" y="942099"/>
            <a:ext cx="8412480" cy="5577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923" tIns="50923" rIns="50923" bIns="509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GB" noProof="0" dirty="0"/>
              <a:t>Click to edit master text styles</a:t>
            </a:r>
          </a:p>
          <a:p>
            <a:pPr lvl="1"/>
            <a:r>
              <a:rPr lang="en-CA" altLang="en-GB" noProof="0" dirty="0"/>
              <a:t>Second level</a:t>
            </a:r>
          </a:p>
          <a:p>
            <a:pPr lvl="2"/>
            <a:r>
              <a:rPr lang="en-CA" altLang="en-GB" noProof="0" dirty="0"/>
              <a:t>Third level</a:t>
            </a:r>
          </a:p>
          <a:p>
            <a:pPr lvl="3"/>
            <a:r>
              <a:rPr lang="en-CA" altLang="en-GB" noProof="0" dirty="0"/>
              <a:t>Fourth level</a:t>
            </a:r>
          </a:p>
          <a:p>
            <a:pPr lvl="4"/>
            <a:r>
              <a:rPr lang="en-CA" alt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436156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645920"/>
            <a:ext cx="4892040" cy="1188720"/>
          </a:xfrm>
          <a:solidFill>
            <a:srgbClr val="DC1202"/>
          </a:solidFill>
        </p:spPr>
        <p:txBody>
          <a:bodyPr lIns="137160" rIns="137160" anchor="ctr">
            <a:noAutofit/>
          </a:bodyPr>
          <a:lstStyle>
            <a:lvl1pPr algn="r">
              <a:lnSpc>
                <a:spcPct val="85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29200" y="1645920"/>
            <a:ext cx="4114800" cy="1188720"/>
          </a:xfrm>
        </p:spPr>
        <p:txBody>
          <a:bodyPr lIns="137160" rIns="137160" anchor="ctr">
            <a:noAutofit/>
          </a:bodyPr>
          <a:lstStyle>
            <a:lvl1pPr marL="0" indent="0" algn="l">
              <a:lnSpc>
                <a:spcPct val="85000"/>
              </a:lnSpc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CA" dirty="0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0"/>
          </p:nvPr>
        </p:nvSpPr>
        <p:spPr>
          <a:xfrm>
            <a:off x="5029200" y="5230894"/>
            <a:ext cx="4114800" cy="457200"/>
          </a:xfrm>
        </p:spPr>
        <p:txBody>
          <a:bodyPr lIns="137160" rIns="137160" anchor="ctr">
            <a:noAutofit/>
          </a:bodyPr>
          <a:lstStyle>
            <a:lvl1pPr marL="0" indent="0" algn="l">
              <a:buNone/>
              <a:defRPr sz="1600" b="0">
                <a:solidFill>
                  <a:srgbClr val="53585F"/>
                </a:solidFill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1"/>
          </p:nvPr>
        </p:nvSpPr>
        <p:spPr>
          <a:xfrm>
            <a:off x="5029200" y="4494006"/>
            <a:ext cx="4114800" cy="365760"/>
          </a:xfrm>
        </p:spPr>
        <p:txBody>
          <a:bodyPr lIns="137160" rIns="137160" anchor="ctr">
            <a:noAutofit/>
          </a:bodyPr>
          <a:lstStyle>
            <a:lvl1pPr marL="0" indent="0" algn="l">
              <a:buNone/>
              <a:defRPr sz="2000" b="0">
                <a:solidFill>
                  <a:srgbClr val="53585F"/>
                </a:solidFill>
              </a:defRPr>
            </a:lvl1pPr>
          </a:lstStyle>
          <a:p>
            <a:pPr lvl="0"/>
            <a:endParaRPr lang="en-CA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928347" y="1645920"/>
            <a:ext cx="45720" cy="1188720"/>
          </a:xfrm>
          <a:prstGeom prst="rect">
            <a:avLst/>
          </a:prstGeom>
          <a:solidFill>
            <a:srgbClr val="DC1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0768079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0" y="2286000"/>
            <a:ext cx="6400800" cy="1188720"/>
          </a:xfrm>
          <a:solidFill>
            <a:srgbClr val="DC1202"/>
          </a:solidFill>
        </p:spPr>
        <p:txBody>
          <a:bodyPr lIns="182880" tIns="137160" rIns="182880" bIns="137160" anchor="ctr">
            <a:noAutofit/>
          </a:bodyPr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988348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D5897-9566-4B10-8E83-0402586BB5C0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40080" y="6492240"/>
            <a:ext cx="6858000" cy="228600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800" b="0" i="1"/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8594273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D5897-9566-4B10-8E83-0402586BB5C0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40080" y="6492240"/>
            <a:ext cx="6858000" cy="228600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800" b="0" i="1"/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822711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99" y="608802"/>
            <a:ext cx="8412480" cy="400110"/>
          </a:xfr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 lang="en-CA" sz="2000" b="0" dirty="0">
                <a:solidFill>
                  <a:srgbClr val="000000"/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317149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Blank_PgN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66667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 txBox="1">
            <a:spLocks/>
          </p:cNvSpPr>
          <p:nvPr userDrawn="1"/>
        </p:nvSpPr>
        <p:spPr>
          <a:xfrm>
            <a:off x="371074" y="6600053"/>
            <a:ext cx="414143" cy="163513"/>
          </a:xfrm>
          <a:prstGeom prst="rect">
            <a:avLst/>
          </a:prstGeom>
        </p:spPr>
        <p:txBody>
          <a:bodyPr lIns="82021" tIns="41010" rIns="82021" bIns="41010" anchor="ctr"/>
          <a:lstStyle>
            <a:defPPr>
              <a:defRPr lang="en-US"/>
            </a:defPPr>
            <a:lvl1pPr marL="0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33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65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99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31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65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96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530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60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664B4472-A98D-4867-A850-DC019789AC36}" type="slidenum">
              <a:rPr lang="en-US" sz="1000">
                <a:solidFill>
                  <a:srgbClr val="000000"/>
                </a:solidFill>
                <a:latin typeface="Calibri "/>
                <a:cs typeface="Segoe UI Light" panose="020B0502040204020203" pitchFamily="34" charset="0"/>
              </a:rPr>
              <a:pPr algn="ctr"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Calibri "/>
              <a:cs typeface="Segoe UI Light" panose="020B0502040204020203" pitchFamily="34" charset="0"/>
            </a:endParaRPr>
          </a:p>
        </p:txBody>
      </p:sp>
      <p:sp>
        <p:nvSpPr>
          <p:cNvPr id="3" name="Slide Number Placeholder 1"/>
          <p:cNvSpPr txBox="1">
            <a:spLocks/>
          </p:cNvSpPr>
          <p:nvPr userDrawn="1"/>
        </p:nvSpPr>
        <p:spPr>
          <a:xfrm>
            <a:off x="371074" y="6600053"/>
            <a:ext cx="414143" cy="1635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 b="1" dirty="0">
              <a:solidFill>
                <a:srgbClr val="002776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3474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8462" y="1219200"/>
            <a:ext cx="4123944" cy="639762"/>
          </a:xfrm>
        </p:spPr>
        <p:txBody>
          <a:bodyPr anchor="t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1593" y="1219200"/>
            <a:ext cx="4123944" cy="639762"/>
          </a:xfrm>
        </p:spPr>
        <p:txBody>
          <a:bodyPr anchor="t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398463" y="1897316"/>
            <a:ext cx="4123944" cy="4323652"/>
          </a:xfr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800"/>
            </a:lvl1pPr>
            <a:lvl2pPr>
              <a:lnSpc>
                <a:spcPct val="100000"/>
              </a:lnSpc>
              <a:spcAft>
                <a:spcPts val="500"/>
              </a:spcAft>
              <a:defRPr sz="1800"/>
            </a:lvl2pPr>
            <a:lvl3pPr>
              <a:lnSpc>
                <a:spcPct val="100000"/>
              </a:lnSpc>
              <a:spcAft>
                <a:spcPts val="500"/>
              </a:spcAft>
              <a:defRPr sz="1600"/>
            </a:lvl3pPr>
            <a:lvl4pPr>
              <a:lnSpc>
                <a:spcPct val="100000"/>
              </a:lnSpc>
              <a:spcAft>
                <a:spcPts val="500"/>
              </a:spcAft>
              <a:defRPr sz="1600"/>
            </a:lvl4pPr>
            <a:lvl5pPr>
              <a:lnSpc>
                <a:spcPct val="100000"/>
              </a:lnSpc>
              <a:spcAft>
                <a:spcPts val="500"/>
              </a:spcAft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621594" y="1897316"/>
            <a:ext cx="4123944" cy="4323652"/>
          </a:xfr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800"/>
            </a:lvl1pPr>
            <a:lvl2pPr>
              <a:lnSpc>
                <a:spcPct val="100000"/>
              </a:lnSpc>
              <a:spcAft>
                <a:spcPts val="500"/>
              </a:spcAft>
              <a:defRPr sz="1800"/>
            </a:lvl2pPr>
            <a:lvl3pPr>
              <a:lnSpc>
                <a:spcPct val="100000"/>
              </a:lnSpc>
              <a:spcAft>
                <a:spcPts val="500"/>
              </a:spcAft>
              <a:defRPr sz="1600"/>
            </a:lvl3pPr>
            <a:lvl4pPr>
              <a:lnSpc>
                <a:spcPct val="100000"/>
              </a:lnSpc>
              <a:spcAft>
                <a:spcPts val="500"/>
              </a:spcAft>
              <a:defRPr sz="1600"/>
            </a:lvl4pPr>
            <a:lvl5pPr>
              <a:lnSpc>
                <a:spcPct val="100000"/>
              </a:lnSpc>
              <a:spcAft>
                <a:spcPts val="500"/>
              </a:spcAft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8347075" cy="619125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3506730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90667"/>
            <a:ext cx="3810000" cy="4681537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90667"/>
            <a:ext cx="3810000" cy="4681537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685801" y="6629406"/>
            <a:ext cx="5256213" cy="219075"/>
          </a:xfrm>
          <a:prstGeom prst="rect">
            <a:avLst/>
          </a:prstGeom>
        </p:spPr>
        <p:txBody>
          <a:bodyPr/>
          <a:lstStyle>
            <a:lvl1pPr fontAlgn="auto">
              <a:spcAft>
                <a:spcPts val="0"/>
              </a:spcAft>
              <a:defRPr sz="1013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80521" y="655638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7FC80BA9-ED63-447D-8DC9-F6668A7A4CE8}" type="slidenum">
              <a:rPr lang="en-CA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5739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1194432"/>
            <a:ext cx="2808000" cy="553968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2400"/>
            </a:lvl1pPr>
            <a:lvl2pPr lvl="1">
              <a:spcBef>
                <a:spcPts val="0"/>
              </a:spcBef>
              <a:buSzPct val="100000"/>
              <a:defRPr sz="2400"/>
            </a:lvl2pPr>
            <a:lvl3pPr lvl="2">
              <a:spcBef>
                <a:spcPts val="0"/>
              </a:spcBef>
              <a:buSzPct val="100000"/>
              <a:defRPr sz="2400"/>
            </a:lvl3pPr>
            <a:lvl4pPr lvl="3">
              <a:spcBef>
                <a:spcPts val="0"/>
              </a:spcBef>
              <a:buSzPct val="100000"/>
              <a:defRPr sz="2400"/>
            </a:lvl4pPr>
            <a:lvl5pPr lvl="4">
              <a:spcBef>
                <a:spcPts val="0"/>
              </a:spcBef>
              <a:buSzPct val="100000"/>
              <a:defRPr sz="2400"/>
            </a:lvl5pPr>
            <a:lvl6pPr lvl="5">
              <a:spcBef>
                <a:spcPts val="0"/>
              </a:spcBef>
              <a:buSzPct val="100000"/>
              <a:defRPr sz="2400"/>
            </a:lvl6pPr>
            <a:lvl7pPr lvl="6">
              <a:spcBef>
                <a:spcPts val="0"/>
              </a:spcBef>
              <a:buSzPct val="100000"/>
              <a:defRPr sz="2400"/>
            </a:lvl7pPr>
            <a:lvl8pPr lvl="7">
              <a:spcBef>
                <a:spcPts val="0"/>
              </a:spcBef>
              <a:buSzPct val="100000"/>
              <a:defRPr sz="2400"/>
            </a:lvl8pPr>
            <a:lvl9pPr lvl="8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852800"/>
            <a:ext cx="2808000" cy="4239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2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8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2978218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1872" y="2438400"/>
            <a:ext cx="6720840" cy="1280160"/>
          </a:xfrm>
        </p:spPr>
        <p:txBody>
          <a:bodyPr>
            <a:noAutofit/>
          </a:bodyPr>
          <a:lstStyle>
            <a:lvl1pPr>
              <a:lnSpc>
                <a:spcPts val="3835"/>
              </a:lnSpc>
              <a:defRPr sz="3441"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80521" y="655638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FC80BA9-ED63-447D-8DC9-F6668A7A4CE8}" type="slidenum">
              <a:rPr lang="en-CA" smtClean="0">
                <a:solidFill>
                  <a:srgbClr val="00559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CA" dirty="0">
              <a:solidFill>
                <a:srgbClr val="00559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1254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7952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304800"/>
            <a:ext cx="8347075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GB" noProof="0" dirty="0"/>
              <a:t>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9831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64336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99" y="181504"/>
            <a:ext cx="8412480" cy="40011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80999" y="863601"/>
            <a:ext cx="8412480" cy="560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5657" tIns="45657" rIns="45657" bIns="45657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CA" altLang="en-GB" noProof="0" dirty="0"/>
              <a:t>Click to edit master text styles</a:t>
            </a:r>
          </a:p>
          <a:p>
            <a:pPr lvl="1"/>
            <a:r>
              <a:rPr lang="en-CA" altLang="en-GB" noProof="0" dirty="0"/>
              <a:t>Second level</a:t>
            </a:r>
          </a:p>
          <a:p>
            <a:pPr lvl="2"/>
            <a:r>
              <a:rPr lang="en-CA" altLang="en-GB" noProof="0" dirty="0"/>
              <a:t>Third level</a:t>
            </a:r>
          </a:p>
          <a:p>
            <a:pPr lvl="3"/>
            <a:r>
              <a:rPr lang="en-CA" altLang="en-GB" noProof="0" dirty="0"/>
              <a:t>Fourth level</a:t>
            </a:r>
          </a:p>
          <a:p>
            <a:pPr lvl="4"/>
            <a:r>
              <a:rPr lang="en-CA" alt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76197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(W/O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78" r="9070"/>
          <a:stretch/>
        </p:blipFill>
        <p:spPr>
          <a:xfrm>
            <a:off x="6377941" y="2133600"/>
            <a:ext cx="2277134" cy="1892808"/>
          </a:xfrm>
          <a:prstGeom prst="rect">
            <a:avLst/>
          </a:prstGeom>
        </p:spPr>
      </p:pic>
      <p:sp>
        <p:nvSpPr>
          <p:cNvPr id="5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6200" y="3886200"/>
            <a:ext cx="6071616" cy="301752"/>
          </a:xfrm>
        </p:spPr>
        <p:txBody>
          <a:bodyPr rIns="0" anchor="ctr"/>
          <a:lstStyle>
            <a:lvl1pPr algn="r">
              <a:defRPr>
                <a:solidFill>
                  <a:srgbClr val="00051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0" y="2508504"/>
            <a:ext cx="6608883" cy="1143000"/>
          </a:xfrm>
          <a:prstGeom prst="rect">
            <a:avLst/>
          </a:prstGeom>
          <a:solidFill>
            <a:srgbClr val="EC1B2E"/>
          </a:solidFill>
          <a:ln w="50800">
            <a:solidFill>
              <a:srgbClr val="EC1B2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6553200" y="2508505"/>
            <a:ext cx="1924050" cy="1142999"/>
          </a:xfrm>
          <a:prstGeom prst="rect">
            <a:avLst/>
          </a:prstGeom>
          <a:noFill/>
          <a:ln w="50800">
            <a:solidFill>
              <a:srgbClr val="EC1B2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>
          <a:xfrm>
            <a:off x="76200" y="2803779"/>
            <a:ext cx="6071616" cy="552450"/>
          </a:xfrm>
        </p:spPr>
        <p:txBody>
          <a:bodyPr lIns="0" rIns="0" anchor="ctr">
            <a:normAutofit/>
          </a:bodyPr>
          <a:lstStyle>
            <a:lvl1pPr algn="r">
              <a:defRPr sz="2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6400800"/>
            <a:ext cx="2186504" cy="365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802686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/>
          <a:lstStyle>
            <a:lvl1pPr>
              <a:defRPr>
                <a:solidFill>
                  <a:srgbClr val="000510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8" y="609599"/>
            <a:ext cx="8996362" cy="5778501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510"/>
                </a:solidFill>
                <a:latin typeface="+mj-lt"/>
              </a:defRPr>
            </a:lvl1pPr>
            <a:lvl2pPr marL="454025" marR="0" indent="-279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200">
                <a:solidFill>
                  <a:srgbClr val="000510"/>
                </a:solidFill>
                <a:latin typeface="+mj-lt"/>
              </a:defRPr>
            </a:lvl2pPr>
            <a:lvl3pPr marL="971550" marR="0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 sz="1100">
                <a:solidFill>
                  <a:srgbClr val="000510"/>
                </a:solidFill>
                <a:latin typeface="+mj-lt"/>
              </a:defRPr>
            </a:lvl3pPr>
            <a:lvl4pPr marL="1485900" marR="0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 sz="1050">
                <a:solidFill>
                  <a:srgbClr val="000510"/>
                </a:solidFill>
                <a:latin typeface="+mj-lt"/>
              </a:defRPr>
            </a:lvl4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454025" marR="0" lvl="1" indent="-279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971550" marR="0" lvl="2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485900" marR="0" lvl="3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036222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7312"/>
            <a:ext cx="8988552" cy="346076"/>
          </a:xfrm>
        </p:spPr>
        <p:txBody>
          <a:bodyPr lIns="0" tIns="0" rIns="0" bIns="0"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3013" y="606426"/>
            <a:ext cx="2743200" cy="576103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latin typeface="+mj-lt"/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>
                <a:latin typeface="+mj-lt"/>
              </a:defRPr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>
                <a:latin typeface="+mj-lt"/>
              </a:defRPr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347864" y="620713"/>
            <a:ext cx="5713701" cy="2505075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latin typeface="+mj-lt"/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>
                <a:latin typeface="+mj-lt"/>
              </a:defRPr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>
                <a:latin typeface="+mj-lt"/>
              </a:defRPr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3347864" y="3884614"/>
            <a:ext cx="5713701" cy="250348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latin typeface="+mj-lt"/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>
                <a:latin typeface="+mj-lt"/>
              </a:defRPr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>
                <a:latin typeface="+mj-lt"/>
              </a:defRPr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586096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0628"/>
            <a:ext cx="8988552" cy="352760"/>
          </a:xfrm>
        </p:spPr>
        <p:txBody>
          <a:bodyPr lIns="0" tIns="0" rIns="0" bIns="0"/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3013" y="606426"/>
            <a:ext cx="2743200" cy="576103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195689" y="606426"/>
            <a:ext cx="2743200" cy="576103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6318365" y="606426"/>
            <a:ext cx="2743200" cy="576103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69068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8"/>
            <a:ext cx="8997696" cy="352760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71500" y="620688"/>
            <a:ext cx="8997696" cy="180136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71500" y="2594056"/>
            <a:ext cx="8997696" cy="180136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2"/>
          </p:nvPr>
        </p:nvSpPr>
        <p:spPr>
          <a:xfrm>
            <a:off x="71500" y="4567425"/>
            <a:ext cx="8997696" cy="180136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963508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8"/>
            <a:ext cx="8997696" cy="352760"/>
          </a:xfrm>
        </p:spPr>
        <p:txBody>
          <a:bodyPr lIns="0" tIns="0" rIns="0" bIns="0"/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498" y="619964"/>
            <a:ext cx="4041648" cy="250545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5029201" y="619940"/>
            <a:ext cx="4041648" cy="250545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/>
          </p:nvPr>
        </p:nvSpPr>
        <p:spPr>
          <a:xfrm>
            <a:off x="71498" y="3882668"/>
            <a:ext cx="4041648" cy="250545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5029201" y="3882644"/>
            <a:ext cx="4041648" cy="250545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262079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w/headings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80627"/>
            <a:ext cx="8997696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/>
          </p:nvPr>
        </p:nvSpPr>
        <p:spPr>
          <a:xfrm>
            <a:off x="71438" y="1000124"/>
            <a:ext cx="8997696" cy="2125663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620688"/>
            <a:ext cx="8997696" cy="38404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7" name="Content Placeholder 2"/>
          <p:cNvSpPr>
            <a:spLocks noGrp="1"/>
          </p:cNvSpPr>
          <p:nvPr>
            <p:ph idx="21"/>
          </p:nvPr>
        </p:nvSpPr>
        <p:spPr>
          <a:xfrm>
            <a:off x="71438" y="4262437"/>
            <a:ext cx="8996361" cy="2125663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71438" y="3882999"/>
            <a:ext cx="8996361" cy="381026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569467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al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7"/>
            <a:ext cx="8997696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71500" y="1000125"/>
            <a:ext cx="8997696" cy="1404443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1500" y="620688"/>
            <a:ext cx="8997696" cy="379437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71500" y="4983657"/>
            <a:ext cx="8997696" cy="1404443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1500" y="4604220"/>
            <a:ext cx="8997696" cy="379437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71500" y="3007148"/>
            <a:ext cx="8997696" cy="1404443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500" y="2627711"/>
            <a:ext cx="8997696" cy="379437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12912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vertic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9" y="80627"/>
            <a:ext cx="8996361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438" y="620714"/>
            <a:ext cx="4044950" cy="5767386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accent2"/>
                </a:solidFill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solidFill>
                  <a:schemeClr val="accent2"/>
                </a:solidFill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0"/>
          </p:nvPr>
        </p:nvSpPr>
        <p:spPr>
          <a:xfrm>
            <a:off x="5027676" y="1000125"/>
            <a:ext cx="4041648" cy="2125663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76" y="620685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5027676" y="4264025"/>
            <a:ext cx="4041648" cy="2125663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027676" y="3884585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339763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6568D480-13ED-0F45-AD5C-36A75B59463F}" type="slidenum">
              <a:rPr lang="en-US" kern="0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8216630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up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/>
          </p:nvPr>
        </p:nvSpPr>
        <p:spPr>
          <a:xfrm>
            <a:off x="73013" y="1000125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5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3013" y="620447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3013" y="80627"/>
            <a:ext cx="8993216" cy="356616"/>
          </a:xfrm>
        </p:spPr>
        <p:txBody>
          <a:bodyPr tIns="0" rIns="0" bIns="0"/>
          <a:lstStyle>
            <a:lvl1pPr>
              <a:defRPr>
                <a:solidFill>
                  <a:srgbClr val="00051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5" name="Content Placeholder 2"/>
          <p:cNvSpPr>
            <a:spLocks noGrp="1"/>
          </p:cNvSpPr>
          <p:nvPr>
            <p:ph idx="13"/>
          </p:nvPr>
        </p:nvSpPr>
        <p:spPr>
          <a:xfrm>
            <a:off x="3200400" y="1000125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200400" y="620447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Content Placeholder 2"/>
          <p:cNvSpPr>
            <a:spLocks noGrp="1"/>
          </p:cNvSpPr>
          <p:nvPr>
            <p:ph idx="15"/>
          </p:nvPr>
        </p:nvSpPr>
        <p:spPr>
          <a:xfrm>
            <a:off x="6319110" y="1000125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319110" y="620447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9" name="Content Placeholder 2"/>
          <p:cNvSpPr>
            <a:spLocks noGrp="1"/>
          </p:cNvSpPr>
          <p:nvPr>
            <p:ph idx="17"/>
          </p:nvPr>
        </p:nvSpPr>
        <p:spPr>
          <a:xfrm>
            <a:off x="73013" y="4024048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73013" y="3644370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1" name="Content Placeholder 2"/>
          <p:cNvSpPr>
            <a:spLocks noGrp="1"/>
          </p:cNvSpPr>
          <p:nvPr>
            <p:ph idx="19"/>
          </p:nvPr>
        </p:nvSpPr>
        <p:spPr>
          <a:xfrm>
            <a:off x="3200400" y="4024048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200400" y="3644370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3" name="Content Placeholder 2"/>
          <p:cNvSpPr>
            <a:spLocks noGrp="1"/>
          </p:cNvSpPr>
          <p:nvPr>
            <p:ph idx="21"/>
          </p:nvPr>
        </p:nvSpPr>
        <p:spPr>
          <a:xfrm>
            <a:off x="6319110" y="4024048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6319110" y="3644370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961627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vertical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0627"/>
            <a:ext cx="8997696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4613" y="1000125"/>
            <a:ext cx="4041648" cy="5387975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74613" y="620688"/>
            <a:ext cx="4041648" cy="379438"/>
          </a:xfrm>
          <a:noFill/>
        </p:spPr>
        <p:txBody>
          <a:bodyPr wrap="none" lIns="45720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027614" y="1000125"/>
            <a:ext cx="4040186" cy="5387975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5027614" y="620688"/>
            <a:ext cx="4040186" cy="379438"/>
          </a:xfrm>
          <a:noFill/>
        </p:spPr>
        <p:txBody>
          <a:bodyPr wrap="none" lIns="45720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1617924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0627"/>
            <a:ext cx="8997696" cy="356616"/>
          </a:xfrm>
        </p:spPr>
        <p:txBody>
          <a:bodyPr lIns="0" tIns="0" rIns="0" bIns="0"/>
          <a:lstStyle>
            <a:lvl1pPr>
              <a:defRPr>
                <a:solidFill>
                  <a:srgbClr val="00051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6324600" y="1000125"/>
            <a:ext cx="2743200" cy="5387975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324600" y="620685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1" name="Content Placeholder 2"/>
          <p:cNvSpPr>
            <a:spLocks noGrp="1"/>
          </p:cNvSpPr>
          <p:nvPr>
            <p:ph idx="15"/>
          </p:nvPr>
        </p:nvSpPr>
        <p:spPr>
          <a:xfrm>
            <a:off x="3200400" y="1000125"/>
            <a:ext cx="2743200" cy="5387975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200400" y="620685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3" name="Content Placeholder 2"/>
          <p:cNvSpPr>
            <a:spLocks noGrp="1"/>
          </p:cNvSpPr>
          <p:nvPr>
            <p:ph idx="17"/>
          </p:nvPr>
        </p:nvSpPr>
        <p:spPr>
          <a:xfrm>
            <a:off x="71438" y="1000125"/>
            <a:ext cx="2743200" cy="5387975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620685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3902469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horizont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7"/>
            <a:ext cx="8997696" cy="356616"/>
          </a:xfrm>
        </p:spPr>
        <p:txBody>
          <a:bodyPr lIns="0" tIns="0" rIns="0" bIns="0"/>
          <a:lstStyle>
            <a:lvl1pPr>
              <a:defRPr>
                <a:solidFill>
                  <a:srgbClr val="00051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500" y="620713"/>
            <a:ext cx="8997696" cy="250507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accent2"/>
                </a:solidFill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solidFill>
                  <a:schemeClr val="accent2"/>
                </a:solidFill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5027613" y="4262437"/>
            <a:ext cx="4040187" cy="2125663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13" y="3882997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61796" y="4262437"/>
            <a:ext cx="4040187" cy="2125663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1796" y="3882997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948869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70319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8347075" cy="61912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7267542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Gree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1130297" y="2745032"/>
            <a:ext cx="6397844" cy="1367943"/>
          </a:xfrm>
        </p:spPr>
        <p:txBody>
          <a:bodyPr>
            <a:noAutofit/>
          </a:bodyPr>
          <a:lstStyle>
            <a:lvl1pPr>
              <a:lnSpc>
                <a:spcPts val="5497"/>
              </a:lnSpc>
              <a:defRPr sz="2400" b="0">
                <a:solidFill>
                  <a:schemeClr val="bg2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CA" noProof="0" dirty="0"/>
              <a:t>Click to edit Master title style – 44pt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130298" y="4127696"/>
            <a:ext cx="4731885" cy="605118"/>
          </a:xfrm>
        </p:spPr>
        <p:txBody>
          <a:bodyPr anchor="ctr"/>
          <a:lstStyle>
            <a:lvl1pPr marL="0" indent="0">
              <a:buNone/>
              <a:defRPr sz="2000" b="1" baseline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  <a:lvl2pPr>
              <a:defRPr sz="1400" b="1">
                <a:solidFill>
                  <a:schemeClr val="bg1"/>
                </a:solidFill>
              </a:defRPr>
            </a:lvl2pPr>
            <a:lvl3pPr>
              <a:defRPr sz="1400" b="1">
                <a:solidFill>
                  <a:schemeClr val="bg1"/>
                </a:solidFill>
              </a:defRPr>
            </a:lvl3pPr>
            <a:lvl4pPr>
              <a:defRPr sz="1400" b="1">
                <a:solidFill>
                  <a:schemeClr val="bg1"/>
                </a:solidFill>
              </a:defRPr>
            </a:lvl4pPr>
            <a:lvl5pPr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 dirty="0"/>
              <a:t>Click to edit Master text styles – 20pt</a:t>
            </a:r>
          </a:p>
        </p:txBody>
      </p:sp>
    </p:spTree>
    <p:extLst>
      <p:ext uri="{BB962C8B-B14F-4D97-AF65-F5344CB8AC3E}">
        <p14:creationId xmlns:p14="http://schemas.microsoft.com/office/powerpoint/2010/main" val="36548813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6197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8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6519626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(W/O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78" r="9070"/>
          <a:stretch/>
        </p:blipFill>
        <p:spPr>
          <a:xfrm>
            <a:off x="6377941" y="2133600"/>
            <a:ext cx="2277134" cy="1892808"/>
          </a:xfrm>
          <a:prstGeom prst="rect">
            <a:avLst/>
          </a:prstGeom>
        </p:spPr>
      </p:pic>
      <p:sp>
        <p:nvSpPr>
          <p:cNvPr id="5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6200" y="3886200"/>
            <a:ext cx="6071616" cy="301752"/>
          </a:xfrm>
        </p:spPr>
        <p:txBody>
          <a:bodyPr rIns="0" anchor="ctr"/>
          <a:lstStyle>
            <a:lvl1pPr algn="r">
              <a:defRPr>
                <a:solidFill>
                  <a:srgbClr val="00051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0" y="2508504"/>
            <a:ext cx="6608883" cy="1143000"/>
          </a:xfrm>
          <a:prstGeom prst="rect">
            <a:avLst/>
          </a:prstGeom>
          <a:solidFill>
            <a:srgbClr val="EC1B2E"/>
          </a:solidFill>
          <a:ln w="50800">
            <a:solidFill>
              <a:srgbClr val="EC1B2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6553200" y="2508505"/>
            <a:ext cx="1924050" cy="1142999"/>
          </a:xfrm>
          <a:prstGeom prst="rect">
            <a:avLst/>
          </a:prstGeom>
          <a:noFill/>
          <a:ln w="50800">
            <a:solidFill>
              <a:srgbClr val="EC1B2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>
          <a:xfrm>
            <a:off x="76200" y="2803779"/>
            <a:ext cx="6071616" cy="552450"/>
          </a:xfrm>
        </p:spPr>
        <p:txBody>
          <a:bodyPr lIns="0" rIns="0" anchor="ctr">
            <a:normAutofit/>
          </a:bodyPr>
          <a:lstStyle>
            <a:lvl1pPr algn="r">
              <a:defRPr sz="2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6400800"/>
            <a:ext cx="2186504" cy="365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28163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8D480-13ED-0F45-AD5C-36A75B594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5059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/>
          <a:lstStyle>
            <a:lvl1pPr>
              <a:defRPr>
                <a:solidFill>
                  <a:srgbClr val="000510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8" y="609599"/>
            <a:ext cx="8996362" cy="5778501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rgbClr val="000510"/>
                </a:solidFill>
                <a:latin typeface="+mj-lt"/>
              </a:defRPr>
            </a:lvl1pPr>
            <a:lvl2pPr marL="454025" marR="0" indent="-279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200">
                <a:solidFill>
                  <a:srgbClr val="000510"/>
                </a:solidFill>
                <a:latin typeface="+mj-lt"/>
              </a:defRPr>
            </a:lvl2pPr>
            <a:lvl3pPr marL="971550" marR="0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 sz="1100">
                <a:solidFill>
                  <a:srgbClr val="000510"/>
                </a:solidFill>
                <a:latin typeface="+mj-lt"/>
              </a:defRPr>
            </a:lvl3pPr>
            <a:lvl4pPr marL="1485900" marR="0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 sz="1050">
                <a:solidFill>
                  <a:srgbClr val="000510"/>
                </a:solidFill>
                <a:latin typeface="+mj-lt"/>
              </a:defRPr>
            </a:lvl4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454025" marR="0" lvl="1" indent="-279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971550" marR="0" lvl="2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485900" marR="0" lvl="3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883903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7312"/>
            <a:ext cx="8988552" cy="346076"/>
          </a:xfrm>
        </p:spPr>
        <p:txBody>
          <a:bodyPr lIns="0" tIns="0" rIns="0" bIns="0"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3013" y="606426"/>
            <a:ext cx="2743200" cy="576103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latin typeface="+mj-lt"/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>
                <a:latin typeface="+mj-lt"/>
              </a:defRPr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>
                <a:latin typeface="+mj-lt"/>
              </a:defRPr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347864" y="620713"/>
            <a:ext cx="5713701" cy="2505075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latin typeface="+mj-lt"/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>
                <a:latin typeface="+mj-lt"/>
              </a:defRPr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>
                <a:latin typeface="+mj-lt"/>
              </a:defRPr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3347864" y="3884614"/>
            <a:ext cx="5713701" cy="250348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latin typeface="+mj-lt"/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latin typeface="+mj-lt"/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>
                <a:latin typeface="+mj-lt"/>
              </a:defRPr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>
                <a:latin typeface="+mj-lt"/>
              </a:defRPr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537243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0628"/>
            <a:ext cx="8988552" cy="352760"/>
          </a:xfrm>
        </p:spPr>
        <p:txBody>
          <a:bodyPr lIns="0" tIns="0" rIns="0" bIns="0"/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3013" y="606426"/>
            <a:ext cx="2743200" cy="576103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195689" y="606426"/>
            <a:ext cx="2743200" cy="576103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6318365" y="606426"/>
            <a:ext cx="2743200" cy="576103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51825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8"/>
            <a:ext cx="8997696" cy="352760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71500" y="620688"/>
            <a:ext cx="8997696" cy="180136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71500" y="2594056"/>
            <a:ext cx="8997696" cy="180136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2"/>
          </p:nvPr>
        </p:nvSpPr>
        <p:spPr>
          <a:xfrm>
            <a:off x="71500" y="4567425"/>
            <a:ext cx="8997696" cy="1801368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08260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8"/>
            <a:ext cx="8997696" cy="352760"/>
          </a:xfrm>
        </p:spPr>
        <p:txBody>
          <a:bodyPr lIns="0" tIns="0" rIns="0" bIns="0"/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498" y="619964"/>
            <a:ext cx="4041648" cy="250545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5029201" y="619940"/>
            <a:ext cx="4041648" cy="250545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/>
          </p:nvPr>
        </p:nvSpPr>
        <p:spPr>
          <a:xfrm>
            <a:off x="71498" y="3882668"/>
            <a:ext cx="4041648" cy="250545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5029201" y="3882644"/>
            <a:ext cx="4041648" cy="250545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74618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w/headings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80627"/>
            <a:ext cx="8997696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/>
          </p:nvPr>
        </p:nvSpPr>
        <p:spPr>
          <a:xfrm>
            <a:off x="71438" y="1000124"/>
            <a:ext cx="8997696" cy="2125663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620688"/>
            <a:ext cx="8997696" cy="38404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7" name="Content Placeholder 2"/>
          <p:cNvSpPr>
            <a:spLocks noGrp="1"/>
          </p:cNvSpPr>
          <p:nvPr>
            <p:ph idx="21"/>
          </p:nvPr>
        </p:nvSpPr>
        <p:spPr>
          <a:xfrm>
            <a:off x="71438" y="4262437"/>
            <a:ext cx="8996361" cy="2125663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71438" y="3882999"/>
            <a:ext cx="8996361" cy="381026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193332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al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7"/>
            <a:ext cx="8997696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71500" y="1000125"/>
            <a:ext cx="8997696" cy="1404443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1500" y="620688"/>
            <a:ext cx="8997696" cy="379437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71500" y="4983657"/>
            <a:ext cx="8997696" cy="1404443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1500" y="4604220"/>
            <a:ext cx="8997696" cy="379437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71500" y="3007148"/>
            <a:ext cx="8997696" cy="1404443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500" y="2627711"/>
            <a:ext cx="8997696" cy="379437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682405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vertic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9" y="80627"/>
            <a:ext cx="8996361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438" y="620714"/>
            <a:ext cx="4044950" cy="5767386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accent2"/>
                </a:solidFill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solidFill>
                  <a:schemeClr val="accent2"/>
                </a:solidFill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0"/>
          </p:nvPr>
        </p:nvSpPr>
        <p:spPr>
          <a:xfrm>
            <a:off x="5027676" y="1000125"/>
            <a:ext cx="4041648" cy="2125663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76" y="620685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5027676" y="4264025"/>
            <a:ext cx="4041648" cy="2125663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027676" y="3884585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3329486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up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/>
          </p:nvPr>
        </p:nvSpPr>
        <p:spPr>
          <a:xfrm>
            <a:off x="73013" y="1000125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5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3013" y="620447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3013" y="80627"/>
            <a:ext cx="8993216" cy="356616"/>
          </a:xfrm>
        </p:spPr>
        <p:txBody>
          <a:bodyPr tIns="0" rIns="0" bIns="0"/>
          <a:lstStyle>
            <a:lvl1pPr>
              <a:defRPr>
                <a:solidFill>
                  <a:srgbClr val="00051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5" name="Content Placeholder 2"/>
          <p:cNvSpPr>
            <a:spLocks noGrp="1"/>
          </p:cNvSpPr>
          <p:nvPr>
            <p:ph idx="13"/>
          </p:nvPr>
        </p:nvSpPr>
        <p:spPr>
          <a:xfrm>
            <a:off x="3200400" y="1000125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200400" y="620447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Content Placeholder 2"/>
          <p:cNvSpPr>
            <a:spLocks noGrp="1"/>
          </p:cNvSpPr>
          <p:nvPr>
            <p:ph idx="15"/>
          </p:nvPr>
        </p:nvSpPr>
        <p:spPr>
          <a:xfrm>
            <a:off x="6319110" y="1000125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319110" y="620447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9" name="Content Placeholder 2"/>
          <p:cNvSpPr>
            <a:spLocks noGrp="1"/>
          </p:cNvSpPr>
          <p:nvPr>
            <p:ph idx="17"/>
          </p:nvPr>
        </p:nvSpPr>
        <p:spPr>
          <a:xfrm>
            <a:off x="73013" y="4024048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73013" y="3644370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1" name="Content Placeholder 2"/>
          <p:cNvSpPr>
            <a:spLocks noGrp="1"/>
          </p:cNvSpPr>
          <p:nvPr>
            <p:ph idx="19"/>
          </p:nvPr>
        </p:nvSpPr>
        <p:spPr>
          <a:xfrm>
            <a:off x="3200400" y="4024048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200400" y="3644370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3" name="Content Placeholder 2"/>
          <p:cNvSpPr>
            <a:spLocks noGrp="1"/>
          </p:cNvSpPr>
          <p:nvPr>
            <p:ph idx="21"/>
          </p:nvPr>
        </p:nvSpPr>
        <p:spPr>
          <a:xfrm>
            <a:off x="6319110" y="4024048"/>
            <a:ext cx="2743200" cy="2356737"/>
          </a:xfrm>
        </p:spPr>
        <p:txBody>
          <a:bodyPr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6319110" y="3644370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4553923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vertical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0627"/>
            <a:ext cx="8997696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4613" y="1000125"/>
            <a:ext cx="4041648" cy="5387975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74613" y="620688"/>
            <a:ext cx="4041648" cy="379438"/>
          </a:xfrm>
          <a:noFill/>
        </p:spPr>
        <p:txBody>
          <a:bodyPr wrap="none" lIns="45720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027614" y="1000125"/>
            <a:ext cx="4040186" cy="5387975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5027614" y="620688"/>
            <a:ext cx="4040186" cy="379438"/>
          </a:xfrm>
          <a:noFill/>
        </p:spPr>
        <p:txBody>
          <a:bodyPr wrap="none" lIns="45720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257052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7147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0627"/>
            <a:ext cx="8997696" cy="356616"/>
          </a:xfrm>
        </p:spPr>
        <p:txBody>
          <a:bodyPr lIns="0" tIns="0" rIns="0" bIns="0"/>
          <a:lstStyle>
            <a:lvl1pPr>
              <a:defRPr>
                <a:solidFill>
                  <a:srgbClr val="00051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6324600" y="1000125"/>
            <a:ext cx="2743200" cy="5387975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324600" y="620685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1" name="Content Placeholder 2"/>
          <p:cNvSpPr>
            <a:spLocks noGrp="1"/>
          </p:cNvSpPr>
          <p:nvPr>
            <p:ph idx="15"/>
          </p:nvPr>
        </p:nvSpPr>
        <p:spPr>
          <a:xfrm>
            <a:off x="3200400" y="1000125"/>
            <a:ext cx="2743200" cy="5387975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200400" y="620685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3" name="Content Placeholder 2"/>
          <p:cNvSpPr>
            <a:spLocks noGrp="1"/>
          </p:cNvSpPr>
          <p:nvPr>
            <p:ph idx="17"/>
          </p:nvPr>
        </p:nvSpPr>
        <p:spPr>
          <a:xfrm>
            <a:off x="71438" y="1000125"/>
            <a:ext cx="2743200" cy="5387975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620685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601754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horizont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7"/>
            <a:ext cx="8997696" cy="356616"/>
          </a:xfrm>
        </p:spPr>
        <p:txBody>
          <a:bodyPr lIns="0" tIns="0" rIns="0" bIns="0"/>
          <a:lstStyle>
            <a:lvl1pPr>
              <a:defRPr>
                <a:solidFill>
                  <a:srgbClr val="00051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500" y="620713"/>
            <a:ext cx="8997696" cy="2505076"/>
          </a:xfrm>
        </p:spPr>
        <p:txBody>
          <a:bodyPr lIns="0" t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accent2"/>
                </a:solidFill>
              </a:defRPr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solidFill>
                  <a:schemeClr val="accent2"/>
                </a:solidFill>
              </a:defRPr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5027613" y="4262437"/>
            <a:ext cx="4040187" cy="2125663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13" y="3882997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61796" y="4262437"/>
            <a:ext cx="4040187" cy="2125663"/>
          </a:xfrm>
        </p:spPr>
        <p:txBody>
          <a:bodyPr lIns="0" rIns="0" bIns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2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550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90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1796" y="3882997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47273222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63496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Gree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1130297" y="2745032"/>
            <a:ext cx="6397844" cy="1367943"/>
          </a:xfrm>
        </p:spPr>
        <p:txBody>
          <a:bodyPr>
            <a:noAutofit/>
          </a:bodyPr>
          <a:lstStyle>
            <a:lvl1pPr>
              <a:lnSpc>
                <a:spcPts val="5497"/>
              </a:lnSpc>
              <a:defRPr sz="2400" b="0">
                <a:solidFill>
                  <a:schemeClr val="bg2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CA" noProof="0" dirty="0"/>
              <a:t>Click to edit Master title style – 44pt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130298" y="4127696"/>
            <a:ext cx="4731885" cy="605118"/>
          </a:xfrm>
        </p:spPr>
        <p:txBody>
          <a:bodyPr anchor="ctr"/>
          <a:lstStyle>
            <a:lvl1pPr marL="0" indent="0">
              <a:buNone/>
              <a:defRPr sz="2000" b="1" baseline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  <a:lvl2pPr>
              <a:defRPr sz="1400" b="1">
                <a:solidFill>
                  <a:schemeClr val="bg1"/>
                </a:solidFill>
              </a:defRPr>
            </a:lvl2pPr>
            <a:lvl3pPr>
              <a:defRPr sz="1400" b="1">
                <a:solidFill>
                  <a:schemeClr val="bg1"/>
                </a:solidFill>
              </a:defRPr>
            </a:lvl3pPr>
            <a:lvl4pPr>
              <a:defRPr sz="1400" b="1">
                <a:solidFill>
                  <a:schemeClr val="bg1"/>
                </a:solidFill>
              </a:defRPr>
            </a:lvl4pPr>
            <a:lvl5pPr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 dirty="0"/>
              <a:t>Click to edit Master text styles – 20pt</a:t>
            </a:r>
          </a:p>
        </p:txBody>
      </p:sp>
    </p:spTree>
    <p:extLst>
      <p:ext uri="{BB962C8B-B14F-4D97-AF65-F5344CB8AC3E}">
        <p14:creationId xmlns:p14="http://schemas.microsoft.com/office/powerpoint/2010/main" val="28593464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47666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8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43200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335940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345030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2726097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5048394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47307"/>
            <a:ext cx="8229600" cy="400110"/>
          </a:xfr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 lang="en-US" sz="2000" b="0">
                <a:solidFill>
                  <a:srgbClr val="000000"/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6151"/>
            <a:ext cx="8229600" cy="475488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1147499"/>
      </p:ext>
    </p:extLst>
  </p:cSld>
  <p:clrMapOvr>
    <a:masterClrMapping/>
  </p:clrMapOvr>
  <p:transition spd="slow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3752159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9185871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307543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7893188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17926381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568140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48818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84052" y="5713417"/>
            <a:ext cx="4173537" cy="52387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491"/>
              </a:spcAft>
              <a:buFontTx/>
              <a:buNone/>
              <a:defRPr sz="1765" b="1" baseline="0">
                <a:solidFill>
                  <a:srgbClr val="00277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CA" altLang="en-GB" noProof="0" dirty="0"/>
              <a:t>Subtitle – Arial Bold 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2924339"/>
            <a:ext cx="8412480" cy="473239"/>
          </a:xfrm>
        </p:spPr>
        <p:txBody>
          <a:bodyPr/>
          <a:lstStyle>
            <a:lvl1pPr marL="0" indent="0">
              <a:buNone/>
              <a:defRPr sz="3177" b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Title – Times New Roman 32pt</a:t>
            </a:r>
          </a:p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3421064"/>
            <a:ext cx="8412480" cy="473020"/>
          </a:xfrm>
        </p:spPr>
        <p:txBody>
          <a:bodyPr/>
          <a:lstStyle>
            <a:lvl1pPr marL="0" indent="0">
              <a:buNone/>
              <a:defRPr sz="3177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Title 2 – 32pt </a:t>
            </a:r>
          </a:p>
        </p:txBody>
      </p:sp>
    </p:spTree>
    <p:extLst>
      <p:ext uri="{BB962C8B-B14F-4D97-AF65-F5344CB8AC3E}">
        <p14:creationId xmlns:p14="http://schemas.microsoft.com/office/powerpoint/2010/main" val="25576120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99" y="181497"/>
            <a:ext cx="8412480" cy="619125"/>
          </a:xfrm>
        </p:spPr>
        <p:txBody>
          <a:bodyPr/>
          <a:lstStyle>
            <a:lvl1pPr>
              <a:defRPr sz="2000">
                <a:latin typeface="Calibri" panose="020F0502020204030204" pitchFamily="34" charset="0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071" y="6600050"/>
            <a:ext cx="414143" cy="16351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fld id="{664B4472-A98D-4867-A850-DC019789AC36}" type="slidenum">
              <a:rPr lang="en-US" sz="1000" b="1" smtClean="0">
                <a:solidFill>
                  <a:srgbClr val="002776"/>
                </a:solidFill>
                <a:cs typeface="Arial" charset="0"/>
              </a:rPr>
              <a:pPr>
                <a:defRPr/>
              </a:pPr>
              <a:t>‹#›</a:t>
            </a:fld>
            <a:endParaRPr lang="en-US" sz="1000" b="1" dirty="0">
              <a:solidFill>
                <a:srgbClr val="002776"/>
              </a:solidFill>
              <a:cs typeface="Arial" charset="0"/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80999" y="863601"/>
            <a:ext cx="8412480" cy="560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5693" tIns="45693" rIns="45693" bIns="45693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Comic Sans MS" panose="030F0702030302020204" pitchFamily="66" charset="0"/>
              </a:defRPr>
            </a:lvl1pPr>
            <a:lvl2pPr>
              <a:defRPr sz="1400">
                <a:latin typeface="Comic Sans MS" panose="030F0702030302020204" pitchFamily="66" charset="0"/>
              </a:defRPr>
            </a:lvl2pPr>
            <a:lvl3pPr>
              <a:defRPr sz="1400">
                <a:latin typeface="Comic Sans MS" panose="030F0702030302020204" pitchFamily="66" charset="0"/>
              </a:defRPr>
            </a:lvl3pPr>
            <a:lvl4pPr>
              <a:defRPr sz="1400">
                <a:latin typeface="Comic Sans MS" panose="030F0702030302020204" pitchFamily="66" charset="0"/>
              </a:defRPr>
            </a:lvl4pPr>
            <a:lvl5pPr>
              <a:defRPr sz="1400">
                <a:latin typeface="Comic Sans MS" panose="030F0702030302020204" pitchFamily="66" charset="0"/>
              </a:defRPr>
            </a:lvl5pPr>
          </a:lstStyle>
          <a:p>
            <a:pPr lvl="0"/>
            <a:r>
              <a:rPr lang="en-CA" altLang="en-GB" noProof="0" dirty="0"/>
              <a:t>Click to edit master text styles</a:t>
            </a:r>
          </a:p>
          <a:p>
            <a:pPr lvl="1"/>
            <a:r>
              <a:rPr lang="en-CA" altLang="en-GB" noProof="0" dirty="0"/>
              <a:t>Second level</a:t>
            </a:r>
          </a:p>
          <a:p>
            <a:pPr lvl="2"/>
            <a:r>
              <a:rPr lang="en-CA" altLang="en-GB" noProof="0" dirty="0"/>
              <a:t>Third level</a:t>
            </a:r>
          </a:p>
          <a:p>
            <a:pPr lvl="3"/>
            <a:r>
              <a:rPr lang="en-CA" altLang="en-GB" noProof="0" dirty="0"/>
              <a:t>Fourth level</a:t>
            </a:r>
          </a:p>
          <a:p>
            <a:pPr lvl="4"/>
            <a:r>
              <a:rPr lang="en-CA" altLang="en-GB" noProof="0" dirty="0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380999" y="795542"/>
            <a:ext cx="8412480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6833423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84051" y="5713419"/>
            <a:ext cx="3794249" cy="52387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500"/>
              </a:spcAft>
              <a:buFontTx/>
              <a:buNone/>
              <a:defRPr sz="1800" b="1" baseline="0">
                <a:solidFill>
                  <a:srgbClr val="002776"/>
                </a:solidFill>
                <a:latin typeface="Comic Sans MS" panose="030F0702030302020204" pitchFamily="66" charset="0"/>
              </a:defRPr>
            </a:lvl1pPr>
          </a:lstStyle>
          <a:p>
            <a:r>
              <a:rPr lang="en-CA" altLang="en-GB" noProof="0" dirty="0"/>
              <a:t>Subtitle – Arial Bold 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2924339"/>
            <a:ext cx="8412480" cy="473239"/>
          </a:xfrm>
        </p:spPr>
        <p:txBody>
          <a:bodyPr/>
          <a:lstStyle>
            <a:lvl1pPr marL="0" indent="0">
              <a:buNone/>
              <a:defRPr sz="3200" b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Title – Times New Roman 32pt</a:t>
            </a:r>
          </a:p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3421064"/>
            <a:ext cx="8412480" cy="47302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2"/>
                </a:solidFill>
                <a:latin typeface="Comic Sans MS" panose="030F0702030302020204" pitchFamily="66" charset="0"/>
              </a:defRPr>
            </a:lvl1pPr>
          </a:lstStyle>
          <a:p>
            <a:pPr lvl="0"/>
            <a:r>
              <a:rPr lang="en-US" dirty="0"/>
              <a:t>Title 2 – 32pt </a:t>
            </a:r>
          </a:p>
        </p:txBody>
      </p:sp>
      <p:pic>
        <p:nvPicPr>
          <p:cNvPr id="8" name="Picture 7" descr="C:\Users\alhui\Desktop\Deloitte LEAN 2.0\Marketing\LEAN_two_arrows_PPT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8178" y="3962041"/>
            <a:ext cx="3655183" cy="274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07559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880" y="2157983"/>
            <a:ext cx="6816210" cy="523220"/>
          </a:xfr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 lang="en-US" sz="2800" b="0" dirty="0">
                <a:solidFill>
                  <a:srgbClr val="000000"/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title </a:t>
            </a:r>
            <a:r>
              <a:rPr lang="en-GB" dirty="0"/>
              <a:t>– </a:t>
            </a:r>
            <a:r>
              <a:rPr lang="en-US" dirty="0"/>
              <a:t>Genera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" y="2742502"/>
            <a:ext cx="6816210" cy="523220"/>
          </a:xfr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 lang="en-US" sz="2800" b="0" dirty="0">
                <a:solidFill>
                  <a:srgbClr val="000000"/>
                </a:solidFill>
                <a:ea typeface="+mj-ea"/>
                <a:cs typeface="Calibri" panose="020F0502020204030204" pitchFamily="34" charset="0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546732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99" y="181497"/>
            <a:ext cx="8412480" cy="619125"/>
          </a:xfrm>
        </p:spPr>
        <p:txBody>
          <a:bodyPr/>
          <a:lstStyle>
            <a:lvl1pPr>
              <a:defRPr sz="2000">
                <a:latin typeface="Calibri" panose="020F0502020204030204" pitchFamily="34" charset="0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071" y="6600050"/>
            <a:ext cx="414143" cy="16351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fld id="{664B4472-A98D-4867-A850-DC019789AC36}" type="slidenum">
              <a:rPr lang="en-US" sz="1000" b="1" smtClean="0">
                <a:solidFill>
                  <a:srgbClr val="002776"/>
                </a:solidFill>
                <a:cs typeface="Arial" charset="0"/>
              </a:rPr>
              <a:pPr>
                <a:defRPr/>
              </a:pPr>
              <a:t>‹#›</a:t>
            </a:fld>
            <a:endParaRPr lang="en-US" sz="1000" b="1" dirty="0">
              <a:solidFill>
                <a:srgbClr val="002776"/>
              </a:solidFill>
              <a:cs typeface="Arial" charset="0"/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80999" y="863601"/>
            <a:ext cx="8412480" cy="560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5693" tIns="45693" rIns="45693" bIns="45693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Comic Sans MS" panose="030F0702030302020204" pitchFamily="66" charset="0"/>
              </a:defRPr>
            </a:lvl1pPr>
            <a:lvl2pPr>
              <a:defRPr sz="1400">
                <a:latin typeface="Comic Sans MS" panose="030F0702030302020204" pitchFamily="66" charset="0"/>
              </a:defRPr>
            </a:lvl2pPr>
            <a:lvl3pPr>
              <a:defRPr sz="1400">
                <a:latin typeface="Comic Sans MS" panose="030F0702030302020204" pitchFamily="66" charset="0"/>
              </a:defRPr>
            </a:lvl3pPr>
            <a:lvl4pPr>
              <a:defRPr sz="1400">
                <a:latin typeface="Comic Sans MS" panose="030F0702030302020204" pitchFamily="66" charset="0"/>
              </a:defRPr>
            </a:lvl4pPr>
            <a:lvl5pPr>
              <a:defRPr sz="1400">
                <a:latin typeface="Comic Sans MS" panose="030F0702030302020204" pitchFamily="66" charset="0"/>
              </a:defRPr>
            </a:lvl5pPr>
          </a:lstStyle>
          <a:p>
            <a:pPr lvl="0"/>
            <a:r>
              <a:rPr lang="en-CA" altLang="en-GB" noProof="0" dirty="0"/>
              <a:t>Click to edit master text styles</a:t>
            </a:r>
          </a:p>
          <a:p>
            <a:pPr lvl="1"/>
            <a:r>
              <a:rPr lang="en-CA" altLang="en-GB" noProof="0" dirty="0"/>
              <a:t>Second level</a:t>
            </a:r>
          </a:p>
          <a:p>
            <a:pPr lvl="2"/>
            <a:r>
              <a:rPr lang="en-CA" altLang="en-GB" noProof="0" dirty="0"/>
              <a:t>Third level</a:t>
            </a:r>
          </a:p>
          <a:p>
            <a:pPr lvl="3"/>
            <a:r>
              <a:rPr lang="en-CA" altLang="en-GB" noProof="0" dirty="0"/>
              <a:t>Fourth level</a:t>
            </a:r>
          </a:p>
          <a:p>
            <a:pPr lvl="4"/>
            <a:r>
              <a:rPr lang="en-CA" alt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12823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071" y="6600050"/>
            <a:ext cx="414143" cy="16351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fld id="{664B4472-A98D-4867-A850-DC019789AC36}" type="slidenum">
              <a:rPr lang="en-US" sz="1000" b="1" smtClean="0">
                <a:solidFill>
                  <a:srgbClr val="002776"/>
                </a:solidFill>
                <a:cs typeface="Arial" charset="0"/>
              </a:rPr>
              <a:pPr>
                <a:defRPr/>
              </a:pPr>
              <a:t>‹#›</a:t>
            </a:fld>
            <a:endParaRPr lang="en-US" sz="1000" b="1" dirty="0">
              <a:solidFill>
                <a:srgbClr val="00277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67237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rk Blue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4615542" y="0"/>
            <a:ext cx="4528458" cy="337039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endParaRPr lang="en-US" sz="1200" dirty="0">
              <a:solidFill>
                <a:srgbClr val="00A1DE">
                  <a:lumMod val="75000"/>
                </a:srgbClr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5542" y="0"/>
            <a:ext cx="4528458" cy="3370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4" y="2670661"/>
            <a:ext cx="6112353" cy="1367943"/>
          </a:xfrm>
        </p:spPr>
        <p:txBody>
          <a:bodyPr/>
          <a:lstStyle>
            <a:lvl1pPr>
              <a:lnSpc>
                <a:spcPts val="5497"/>
              </a:lnSpc>
              <a:defRPr sz="52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142823" y="4303059"/>
            <a:ext cx="3394364" cy="6051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1"/>
                </a:solidFill>
                <a:latin typeface="Comic Sans MS" panose="030F0702030302020204" pitchFamily="66" charset="0"/>
              </a:defRPr>
            </a:lvl1pPr>
            <a:lvl2pPr>
              <a:defRPr sz="1400" b="1">
                <a:solidFill>
                  <a:schemeClr val="bg1"/>
                </a:solidFill>
              </a:defRPr>
            </a:lvl2pPr>
            <a:lvl3pPr>
              <a:defRPr sz="1400" b="1">
                <a:solidFill>
                  <a:schemeClr val="bg1"/>
                </a:solidFill>
              </a:defRPr>
            </a:lvl3pPr>
            <a:lvl4pPr>
              <a:defRPr sz="1400" b="1">
                <a:solidFill>
                  <a:schemeClr val="bg1"/>
                </a:solidFill>
              </a:defRPr>
            </a:lvl4pPr>
            <a:lvl5pPr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4334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ark Blue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4" y="2670661"/>
            <a:ext cx="6112353" cy="1367943"/>
          </a:xfrm>
        </p:spPr>
        <p:txBody>
          <a:bodyPr/>
          <a:lstStyle>
            <a:lvl1pPr>
              <a:lnSpc>
                <a:spcPts val="5497"/>
              </a:lnSpc>
              <a:defRPr sz="52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142823" y="4303059"/>
            <a:ext cx="3394364" cy="6051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1"/>
                </a:solidFill>
                <a:latin typeface="Comic Sans MS" panose="030F0702030302020204" pitchFamily="66" charset="0"/>
              </a:defRPr>
            </a:lvl1pPr>
            <a:lvl2pPr>
              <a:defRPr sz="1400" b="1">
                <a:solidFill>
                  <a:schemeClr val="bg1"/>
                </a:solidFill>
              </a:defRPr>
            </a:lvl2pPr>
            <a:lvl3pPr>
              <a:defRPr sz="1400" b="1">
                <a:solidFill>
                  <a:schemeClr val="bg1"/>
                </a:solidFill>
              </a:defRPr>
            </a:lvl3pPr>
            <a:lvl4pPr>
              <a:defRPr sz="1400" b="1">
                <a:solidFill>
                  <a:schemeClr val="bg1"/>
                </a:solidFill>
              </a:defRPr>
            </a:lvl4pPr>
            <a:lvl5pPr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80114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4" y="2670661"/>
            <a:ext cx="6112353" cy="1367943"/>
          </a:xfrm>
        </p:spPr>
        <p:txBody>
          <a:bodyPr/>
          <a:lstStyle>
            <a:lvl1pPr>
              <a:lnSpc>
                <a:spcPts val="5497"/>
              </a:lnSpc>
              <a:defRPr sz="52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142823" y="4303059"/>
            <a:ext cx="3394364" cy="6051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1"/>
                </a:solidFill>
                <a:latin typeface="Comic Sans MS" panose="030F0702030302020204" pitchFamily="66" charset="0"/>
              </a:defRPr>
            </a:lvl1pPr>
            <a:lvl2pPr>
              <a:defRPr sz="1400" b="1">
                <a:solidFill>
                  <a:schemeClr val="bg1"/>
                </a:solidFill>
              </a:defRPr>
            </a:lvl2pPr>
            <a:lvl3pPr>
              <a:defRPr sz="1400" b="1">
                <a:solidFill>
                  <a:schemeClr val="bg1"/>
                </a:solidFill>
              </a:defRPr>
            </a:lvl3pPr>
            <a:lvl4pPr>
              <a:defRPr sz="1400" b="1">
                <a:solidFill>
                  <a:schemeClr val="bg1"/>
                </a:solidFill>
              </a:defRPr>
            </a:lvl4pPr>
            <a:lvl5pPr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22863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Blue Divi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4" y="2670661"/>
            <a:ext cx="6112353" cy="1367943"/>
          </a:xfrm>
        </p:spPr>
        <p:txBody>
          <a:bodyPr/>
          <a:lstStyle>
            <a:lvl1pPr>
              <a:lnSpc>
                <a:spcPts val="5497"/>
              </a:lnSpc>
              <a:defRPr sz="5200" b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142823" y="4303059"/>
            <a:ext cx="3394364" cy="6051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1"/>
                </a:solidFill>
                <a:latin typeface="Comic Sans MS" panose="030F0702030302020204" pitchFamily="66" charset="0"/>
              </a:defRPr>
            </a:lvl1pPr>
            <a:lvl2pPr>
              <a:defRPr sz="1400" b="1">
                <a:solidFill>
                  <a:schemeClr val="bg1"/>
                </a:solidFill>
              </a:defRPr>
            </a:lvl2pPr>
            <a:lvl3pPr>
              <a:defRPr sz="1400" b="1">
                <a:solidFill>
                  <a:schemeClr val="bg1"/>
                </a:solidFill>
              </a:defRPr>
            </a:lvl3pPr>
            <a:lvl4pPr>
              <a:defRPr sz="1400" b="1">
                <a:solidFill>
                  <a:schemeClr val="bg1"/>
                </a:solidFill>
              </a:defRPr>
            </a:lvl4pPr>
            <a:lvl5pPr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829371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hit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4" y="2670661"/>
            <a:ext cx="6112353" cy="1367943"/>
          </a:xfrm>
        </p:spPr>
        <p:txBody>
          <a:bodyPr/>
          <a:lstStyle>
            <a:lvl1pPr>
              <a:lnSpc>
                <a:spcPts val="5497"/>
              </a:lnSpc>
              <a:defRPr sz="5200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142823" y="4303059"/>
            <a:ext cx="3394364" cy="60511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  <a:latin typeface="Comic Sans MS" panose="030F0702030302020204" pitchFamily="66" charset="0"/>
              </a:defRPr>
            </a:lvl1pPr>
            <a:lvl2pPr>
              <a:defRPr sz="1400" b="1">
                <a:solidFill>
                  <a:schemeClr val="bg1"/>
                </a:solidFill>
              </a:defRPr>
            </a:lvl2pPr>
            <a:lvl3pPr>
              <a:defRPr sz="1400" b="1">
                <a:solidFill>
                  <a:schemeClr val="bg1"/>
                </a:solidFill>
              </a:defRPr>
            </a:lvl3pPr>
            <a:lvl4pPr>
              <a:defRPr sz="1400" b="1">
                <a:solidFill>
                  <a:schemeClr val="bg1"/>
                </a:solidFill>
              </a:defRPr>
            </a:lvl4pPr>
            <a:lvl5pPr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768034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Gree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1130297" y="2745032"/>
            <a:ext cx="6397844" cy="1367943"/>
          </a:xfrm>
        </p:spPr>
        <p:txBody>
          <a:bodyPr/>
          <a:lstStyle>
            <a:lvl1pPr>
              <a:lnSpc>
                <a:spcPts val="5497"/>
              </a:lnSpc>
              <a:defRPr sz="4400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CA" noProof="0" dirty="0"/>
              <a:t>Click to edit Master title style – 44pt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130298" y="4127696"/>
            <a:ext cx="4731885" cy="605118"/>
          </a:xfrm>
        </p:spPr>
        <p:txBody>
          <a:bodyPr anchor="ctr"/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  <a:lvl2pPr>
              <a:defRPr sz="1400" b="1">
                <a:solidFill>
                  <a:schemeClr val="bg1"/>
                </a:solidFill>
              </a:defRPr>
            </a:lvl2pPr>
            <a:lvl3pPr>
              <a:defRPr sz="1400" b="1">
                <a:solidFill>
                  <a:schemeClr val="bg1"/>
                </a:solidFill>
              </a:defRPr>
            </a:lvl3pPr>
            <a:lvl4pPr>
              <a:defRPr sz="1400" b="1">
                <a:solidFill>
                  <a:schemeClr val="bg1"/>
                </a:solidFill>
              </a:defRPr>
            </a:lvl4pPr>
            <a:lvl5pPr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 dirty="0"/>
              <a:t>Click to edit Master text styles – 20pt</a:t>
            </a:r>
          </a:p>
        </p:txBody>
      </p:sp>
    </p:spTree>
    <p:extLst>
      <p:ext uri="{BB962C8B-B14F-4D97-AF65-F5344CB8AC3E}">
        <p14:creationId xmlns:p14="http://schemas.microsoft.com/office/powerpoint/2010/main" val="29050679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074" y="6600053"/>
            <a:ext cx="414143" cy="16351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fld id="{664B4472-A98D-4867-A850-DC019789AC36}" type="slidenum">
              <a:rPr lang="en-US" sz="1000" b="1" smtClean="0">
                <a:solidFill>
                  <a:srgbClr val="002776"/>
                </a:solidFill>
                <a:cs typeface="Arial" charset="0"/>
              </a:rPr>
              <a:pPr>
                <a:defRPr/>
              </a:pPr>
              <a:t>‹#›</a:t>
            </a:fld>
            <a:endParaRPr lang="en-US" sz="1000" b="1" dirty="0">
              <a:solidFill>
                <a:srgbClr val="002776"/>
              </a:solidFill>
              <a:cs typeface="Arial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181500"/>
            <a:ext cx="8412480" cy="619125"/>
          </a:xfrm>
        </p:spPr>
        <p:txBody>
          <a:bodyPr/>
          <a:lstStyle>
            <a:lvl1pPr>
              <a:defRPr/>
            </a:lvl1pPr>
          </a:lstStyle>
          <a:p>
            <a:r>
              <a:rPr lang="en-CA" noProof="0" dirty="0"/>
              <a:t>Click to edit Master title style – 20pt</a:t>
            </a:r>
          </a:p>
        </p:txBody>
      </p:sp>
    </p:spTree>
    <p:extLst>
      <p:ext uri="{BB962C8B-B14F-4D97-AF65-F5344CB8AC3E}">
        <p14:creationId xmlns:p14="http://schemas.microsoft.com/office/powerpoint/2010/main" val="174985861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897660" y="296956"/>
            <a:ext cx="7975023" cy="45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3541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84677" y="6605978"/>
            <a:ext cx="374650" cy="163122"/>
          </a:xfrm>
          <a:prstGeom prst="rect">
            <a:avLst/>
          </a:prstGeom>
        </p:spPr>
        <p:txBody>
          <a:bodyPr lIns="82058" tIns="41029" rIns="82058" bIns="41029"/>
          <a:lstStyle>
            <a:lvl1pPr algn="ctr" eaLnBrk="0" hangingPunct="0">
              <a:lnSpc>
                <a:spcPct val="106000"/>
              </a:lnSpc>
              <a:buSzPct val="100000"/>
              <a:buFont typeface="Wingdings 2" pitchFamily="18" charset="2"/>
              <a:buNone/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2A2CB195-FDE1-4330-95FD-5BB79EF58721}" type="slidenum">
              <a:rPr lang="en-CA" smtClean="0"/>
              <a:pPr>
                <a:defRPr/>
              </a:pPr>
              <a:t>‹#›</a:t>
            </a:fld>
            <a:endParaRPr lang="en-CA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0999" y="682129"/>
            <a:ext cx="8412480" cy="40011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 lang="en-CA" altLang="en-GB" sz="2000" b="0" noProof="0" dirty="0" smtClean="0">
                <a:solidFill>
                  <a:srgbClr val="000000"/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CA" altLang="en-GB" noProof="0" dirty="0"/>
              <a:t>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105394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457200" y="173880"/>
            <a:ext cx="85344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576580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2924339"/>
            <a:ext cx="8412480" cy="473239"/>
          </a:xfrm>
        </p:spPr>
        <p:txBody>
          <a:bodyPr/>
          <a:lstStyle>
            <a:lvl1pPr marL="0" indent="0">
              <a:buNone/>
              <a:defRPr sz="3200" b="0">
                <a:latin typeface="+mj-lt"/>
              </a:defRPr>
            </a:lvl1pPr>
          </a:lstStyle>
          <a:p>
            <a:pPr lvl="0"/>
            <a:r>
              <a:rPr lang="en-US" dirty="0"/>
              <a:t>Title – Times New Roman 32pt</a:t>
            </a:r>
          </a:p>
          <a:p>
            <a:pPr lvl="0"/>
            <a:endParaRPr lang="en-US" dirty="0"/>
          </a:p>
        </p:txBody>
      </p:sp>
      <p:pic>
        <p:nvPicPr>
          <p:cNvPr id="12" name="Picture 2" descr="C:\Users\minhxnguyen\Desktop\bzi_sup_glb_ho_1437_hi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4064528" y="3470225"/>
            <a:ext cx="5079471" cy="338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3471171"/>
            <a:ext cx="8412480" cy="47302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2 – 32pt 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84048" y="5787028"/>
            <a:ext cx="3794249" cy="450269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500"/>
              </a:spcAft>
              <a:buFontTx/>
              <a:buNone/>
              <a:defRPr sz="1800" b="1" baseline="0">
                <a:solidFill>
                  <a:srgbClr val="002776"/>
                </a:solidFill>
              </a:defRPr>
            </a:lvl1pPr>
          </a:lstStyle>
          <a:p>
            <a:r>
              <a:rPr lang="en-CA" altLang="en-GB" noProof="0" dirty="0"/>
              <a:t>Subtitle – Arial Bold 18pt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4024401"/>
            <a:ext cx="5590867" cy="47302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2 – 24pt </a:t>
            </a:r>
          </a:p>
        </p:txBody>
      </p:sp>
    </p:spTree>
    <p:extLst>
      <p:ext uri="{BB962C8B-B14F-4D97-AF65-F5344CB8AC3E}">
        <p14:creationId xmlns:p14="http://schemas.microsoft.com/office/powerpoint/2010/main" val="296603160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Generic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1" y="2670657"/>
            <a:ext cx="6492240" cy="1367943"/>
          </a:xfrm>
        </p:spPr>
        <p:txBody>
          <a:bodyPr/>
          <a:lstStyle>
            <a:lvl1pPr>
              <a:lnSpc>
                <a:spcPts val="5499"/>
              </a:lnSpc>
              <a:defRPr sz="5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142821" y="4303059"/>
            <a:ext cx="3394364" cy="605118"/>
          </a:xfrm>
        </p:spPr>
        <p:txBody>
          <a:bodyPr/>
          <a:lstStyle>
            <a:lvl1pPr marL="0" indent="0">
              <a:buNone/>
              <a:defRPr sz="1800" b="1" baseline="0">
                <a:solidFill>
                  <a:schemeClr val="tx1"/>
                </a:solidFill>
              </a:defRPr>
            </a:lvl1pPr>
            <a:lvl2pPr>
              <a:defRPr sz="1400" b="1">
                <a:solidFill>
                  <a:schemeClr val="bg1"/>
                </a:solidFill>
              </a:defRPr>
            </a:lvl2pPr>
            <a:lvl3pPr>
              <a:defRPr sz="1400" b="1">
                <a:solidFill>
                  <a:schemeClr val="bg1"/>
                </a:solidFill>
              </a:defRPr>
            </a:lvl3pPr>
            <a:lvl4pPr>
              <a:defRPr sz="1400" b="1">
                <a:solidFill>
                  <a:schemeClr val="bg1"/>
                </a:solidFill>
              </a:defRPr>
            </a:lvl4pPr>
            <a:lvl5pPr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 dirty="0"/>
              <a:t>Generic Divider</a:t>
            </a:r>
          </a:p>
        </p:txBody>
      </p:sp>
    </p:spTree>
    <p:extLst>
      <p:ext uri="{BB962C8B-B14F-4D97-AF65-F5344CB8AC3E}">
        <p14:creationId xmlns:p14="http://schemas.microsoft.com/office/powerpoint/2010/main" val="2257229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84677" y="6605978"/>
            <a:ext cx="374650" cy="163122"/>
          </a:xfrm>
          <a:prstGeom prst="rect">
            <a:avLst/>
          </a:prstGeom>
        </p:spPr>
        <p:txBody>
          <a:bodyPr lIns="82058" tIns="41029" rIns="82058" bIns="41029"/>
          <a:lstStyle>
            <a:lvl1pPr algn="ctr" eaLnBrk="0" hangingPunct="0">
              <a:lnSpc>
                <a:spcPct val="106000"/>
              </a:lnSpc>
              <a:buSzPct val="100000"/>
              <a:buFont typeface="Wingdings 2" pitchFamily="18" charset="2"/>
              <a:buNone/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A2CB195-FDE1-4330-95FD-5BB79EF58721}" type="slidenum">
              <a:rPr lang="en-CA"/>
              <a:pPr>
                <a:defRPr/>
              </a:pPr>
              <a:t>‹#›</a:t>
            </a:fld>
            <a:endParaRPr lang="en-CA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0999" y="180105"/>
            <a:ext cx="8412480" cy="42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5709" tIns="45709" rIns="45709" bIns="45709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CA" altLang="en-GB" noProof="0" dirty="0"/>
              <a:t>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6616714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8364" y="2622176"/>
            <a:ext cx="4433455" cy="1470025"/>
          </a:xfrm>
        </p:spPr>
        <p:txBody>
          <a:bodyPr/>
          <a:lstStyle>
            <a:lvl1pPr>
              <a:lnSpc>
                <a:spcPts val="3231"/>
              </a:lnSpc>
              <a:defRPr sz="3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5791200"/>
            <a:ext cx="4495800" cy="533400"/>
          </a:xfrm>
        </p:spPr>
        <p:txBody>
          <a:bodyPr anchor="b" anchorCtr="0"/>
          <a:lstStyle>
            <a:lvl1pPr marL="0" indent="0" algn="l">
              <a:buNone/>
              <a:defRPr sz="1600" b="1">
                <a:solidFill>
                  <a:schemeClr val="tx2"/>
                </a:solidFill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667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Blank_PgN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074" y="6600053"/>
            <a:ext cx="414143" cy="163513"/>
          </a:xfrm>
          <a:prstGeom prst="rect">
            <a:avLst/>
          </a:prstGeom>
        </p:spPr>
        <p:txBody>
          <a:bodyPr lIns="91407" tIns="45704" rIns="91407" bIns="45704" anchor="ctr"/>
          <a:lstStyle>
            <a:lvl1pPr algn="ctr">
              <a:defRPr/>
            </a:lvl1pPr>
          </a:lstStyle>
          <a:p>
            <a:pPr>
              <a:defRPr/>
            </a:pPr>
            <a:fld id="{664B4472-A98D-4867-A850-DC019789AC36}" type="slidenum">
              <a:rPr lang="en-US" sz="1000" b="1" smtClean="0">
                <a:solidFill>
                  <a:srgbClr val="002776"/>
                </a:solidFill>
                <a:cs typeface="Arial" charset="0"/>
              </a:rPr>
              <a:pPr>
                <a:defRPr/>
              </a:pPr>
              <a:t>‹#›</a:t>
            </a:fld>
            <a:endParaRPr lang="en-US" sz="1000" b="1" dirty="0">
              <a:solidFill>
                <a:srgbClr val="00277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661554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775" y="1973263"/>
            <a:ext cx="8383588" cy="1346200"/>
          </a:xfrm>
        </p:spPr>
        <p:txBody>
          <a:bodyPr/>
          <a:lstStyle>
            <a:lvl1pPr>
              <a:lnSpc>
                <a:spcPct val="82000"/>
              </a:lnSpc>
              <a:defRPr sz="6000" b="0">
                <a:latin typeface="Times New Roman" pitchFamily="18" charset="0"/>
              </a:defRPr>
            </a:lvl1pPr>
          </a:lstStyle>
          <a:p>
            <a:r>
              <a:rPr lang="en-US" altLang="en-GB"/>
              <a:t>Click to edit Master title style</a:t>
            </a:r>
            <a:endParaRPr lang="en-CA" altLang="en-GB" dirty="0"/>
          </a:p>
        </p:txBody>
      </p:sp>
      <p:sp>
        <p:nvSpPr>
          <p:cNvPr id="4099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81000" y="3744913"/>
            <a:ext cx="5399088" cy="523875"/>
          </a:xfrm>
        </p:spPr>
        <p:txBody>
          <a:bodyPr/>
          <a:lstStyle>
            <a:lvl1pPr marL="0" indent="0">
              <a:spcAft>
                <a:spcPct val="0"/>
              </a:spcAft>
              <a:buFontTx/>
              <a:buNone/>
              <a:defRPr sz="1800"/>
            </a:lvl1pPr>
          </a:lstStyle>
          <a:p>
            <a:r>
              <a:rPr lang="en-US" altLang="en-GB"/>
              <a:t>Click to edit Master subtitle style</a:t>
            </a:r>
            <a:endParaRPr lang="en-CA" altLang="en-GB" dirty="0"/>
          </a:p>
        </p:txBody>
      </p:sp>
    </p:spTree>
    <p:extLst>
      <p:ext uri="{BB962C8B-B14F-4D97-AF65-F5344CB8AC3E}">
        <p14:creationId xmlns:p14="http://schemas.microsoft.com/office/powerpoint/2010/main" val="86763851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2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66"/>
                </a:solidFill>
              </a:rPr>
              <a:t>Presentation Nam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36530F-C6A4-4834-8F3A-FDBEC3B4CEAD}" type="slidenum">
              <a:rPr lang="en-US">
                <a:solidFill>
                  <a:srgbClr val="0000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24841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66"/>
                </a:solidFill>
              </a:rPr>
              <a:t>Presentation Nam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8D8B19-FA61-4706-9E06-2702917C5C08}" type="slidenum">
              <a:rPr lang="en-US">
                <a:solidFill>
                  <a:srgbClr val="0000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4726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8300" y="1308100"/>
            <a:ext cx="4121150" cy="50085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850" y="1308100"/>
            <a:ext cx="4121150" cy="50085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66"/>
                </a:solidFill>
              </a:rPr>
              <a:t>Presentation Nam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ADE560-0072-4C0A-935B-3C490175C0F7}" type="slidenum">
              <a:rPr lang="en-US">
                <a:solidFill>
                  <a:srgbClr val="0000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7882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725358"/>
            <a:ext cx="8412480" cy="400110"/>
          </a:xfr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 lang="en-CA" sz="2000" b="0" noProof="0" dirty="0">
                <a:solidFill>
                  <a:srgbClr val="000000"/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CA" noProof="0" dirty="0"/>
              <a:t>Click to edit Master title style – 20pt</a:t>
            </a:r>
          </a:p>
        </p:txBody>
      </p:sp>
    </p:spTree>
    <p:extLst>
      <p:ext uri="{BB962C8B-B14F-4D97-AF65-F5344CB8AC3E}">
        <p14:creationId xmlns:p14="http://schemas.microsoft.com/office/powerpoint/2010/main" val="72300999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2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66"/>
                </a:solidFill>
              </a:rPr>
              <a:t>Presentation Name</a:t>
            </a:r>
          </a:p>
        </p:txBody>
      </p:sp>
      <p:sp>
        <p:nvSpPr>
          <p:cNvPr id="8" name="Rectangle 2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579965-E2D3-441A-B5F0-5048B14C3410}" type="slidenum">
              <a:rPr lang="en-US">
                <a:solidFill>
                  <a:srgbClr val="0000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4775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66"/>
                </a:solidFill>
              </a:rPr>
              <a:t>Presentation Name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F026A5-DE5B-42C3-A30A-A915739198A6}" type="slidenum">
              <a:rPr lang="en-US">
                <a:solidFill>
                  <a:srgbClr val="0000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18736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66"/>
                </a:solidFill>
              </a:rPr>
              <a:t>Presentation Nam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1C01FB-2B08-471E-94E4-5352DE2056FF}" type="slidenum">
              <a:rPr lang="en-US">
                <a:solidFill>
                  <a:srgbClr val="0000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75304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66"/>
                </a:solidFill>
              </a:rPr>
              <a:t>Presentation Nam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EB3C7C-8738-47DC-940F-B3BB5D70D33F}" type="slidenum">
              <a:rPr lang="en-US">
                <a:solidFill>
                  <a:srgbClr val="0000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3650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66"/>
                </a:solidFill>
              </a:rPr>
              <a:t>Presentation Nam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E5AA42-F66B-4B0E-A8A2-C16E4678FCE7}" type="slidenum">
              <a:rPr lang="en-US">
                <a:solidFill>
                  <a:srgbClr val="0000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90692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2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66"/>
                </a:solidFill>
              </a:rPr>
              <a:t>Presentation Nam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3CEC70-B7D8-46E3-A8AE-A6A504BB5677}" type="slidenum">
              <a:rPr lang="en-US">
                <a:solidFill>
                  <a:srgbClr val="0000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5788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358775"/>
            <a:ext cx="2098675" cy="595788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8300" y="358775"/>
            <a:ext cx="6143625" cy="595788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2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66"/>
                </a:solidFill>
              </a:rPr>
              <a:t>Presentation Nam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81AC64-E53F-4C7E-A6EF-9CD8E6258AAE}" type="slidenum">
              <a:rPr lang="en-US">
                <a:solidFill>
                  <a:srgbClr val="0000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9580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84052" y="5713417"/>
            <a:ext cx="4173537" cy="52387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491"/>
              </a:spcAft>
              <a:buFontTx/>
              <a:buNone/>
              <a:defRPr sz="1765" b="1" baseline="0">
                <a:solidFill>
                  <a:srgbClr val="002776"/>
                </a:solidFill>
                <a:latin typeface="Calibri" panose="020F0502020204030204" pitchFamily="34" charset="0"/>
              </a:defRPr>
            </a:lvl1pPr>
          </a:lstStyle>
          <a:p>
            <a:r>
              <a:rPr lang="en-CA" altLang="en-GB" noProof="0" dirty="0"/>
              <a:t>Subtitle – Arial Bold 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2924339"/>
            <a:ext cx="8412480" cy="473239"/>
          </a:xfrm>
        </p:spPr>
        <p:txBody>
          <a:bodyPr/>
          <a:lstStyle>
            <a:lvl1pPr marL="0" indent="0">
              <a:buNone/>
              <a:defRPr sz="3177" b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Title – Times New Roman 32pt</a:t>
            </a:r>
          </a:p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84048" y="3421064"/>
            <a:ext cx="8412480" cy="473020"/>
          </a:xfrm>
        </p:spPr>
        <p:txBody>
          <a:bodyPr/>
          <a:lstStyle>
            <a:lvl1pPr marL="0" indent="0">
              <a:buNone/>
              <a:defRPr sz="3177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Title 2 – 32pt </a:t>
            </a:r>
          </a:p>
        </p:txBody>
      </p:sp>
    </p:spTree>
    <p:extLst>
      <p:ext uri="{BB962C8B-B14F-4D97-AF65-F5344CB8AC3E}">
        <p14:creationId xmlns:p14="http://schemas.microsoft.com/office/powerpoint/2010/main" val="261334074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les &amp; Responsibil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384676" y="6605978"/>
            <a:ext cx="548640" cy="163122"/>
          </a:xfrm>
          <a:prstGeom prst="rect">
            <a:avLst/>
          </a:prstGeom>
        </p:spPr>
        <p:txBody>
          <a:bodyPr/>
          <a:lstStyle>
            <a:lvl1pPr algn="ctr" eaLnBrk="0" hangingPunct="0">
              <a:lnSpc>
                <a:spcPct val="106000"/>
              </a:lnSpc>
              <a:buSzPct val="100000"/>
              <a:buFont typeface="Wingdings 2" pitchFamily="18" charset="2"/>
              <a:buNone/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A2CB195-FDE1-4330-95FD-5BB79EF58721}" type="slidenum">
              <a:rPr lang="en-CA"/>
              <a:pPr>
                <a:defRPr/>
              </a:pPr>
              <a:t>‹#›</a:t>
            </a:fld>
            <a:endParaRPr lang="en-CA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0999" y="180105"/>
            <a:ext cx="8412480" cy="594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923" tIns="50923" rIns="50923" bIns="50923" numCol="1" anchor="t" anchorCtr="0" compatLnSpc="1">
            <a:prstTxWarp prst="textNoShape">
              <a:avLst/>
            </a:prstTxWarp>
          </a:bodyPr>
          <a:lstStyle>
            <a:lvl1pPr>
              <a:defRPr sz="2471"/>
            </a:lvl1pPr>
          </a:lstStyle>
          <a:p>
            <a:pPr lvl="0"/>
            <a:r>
              <a:rPr lang="en-CA" altLang="en-GB" noProof="0" dirty="0"/>
              <a:t>Insert section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0999" y="950604"/>
            <a:ext cx="8412480" cy="283464"/>
          </a:xfrm>
          <a:solidFill>
            <a:srgbClr val="002776"/>
          </a:solidFill>
        </p:spPr>
        <p:txBody>
          <a:bodyPr/>
          <a:lstStyle>
            <a:lvl1pPr marL="0" indent="0" algn="ctr">
              <a:buNone/>
              <a:defRPr sz="1412" b="1">
                <a:solidFill>
                  <a:schemeClr val="bg1"/>
                </a:solidFill>
              </a:defRPr>
            </a:lvl1pPr>
          </a:lstStyle>
          <a:p>
            <a:r>
              <a:rPr lang="en-CA" dirty="0"/>
              <a:t>Role Overview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80999" y="1257103"/>
            <a:ext cx="8412480" cy="65878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CA" sz="1412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80999" y="2399774"/>
            <a:ext cx="4160520" cy="4117143"/>
          </a:xfrm>
        </p:spPr>
        <p:txBody>
          <a:bodyPr lIns="0" rIns="101858" numCol="1"/>
          <a:lstStyle>
            <a:lvl1pPr marL="201717" indent="-201717">
              <a:buFont typeface="+mj-lt"/>
              <a:buAutoNum type="arabicPeriod"/>
              <a:defRPr/>
            </a:lvl1pPr>
          </a:lstStyle>
          <a:p>
            <a:pPr marL="228600" indent="-228600">
              <a:buFont typeface="+mj-lt"/>
              <a:buAutoNum type="arabicPeriod"/>
            </a:pPr>
            <a:endParaRPr lang="en-CA" sz="1147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646284" y="2399773"/>
            <a:ext cx="4160520" cy="4114800"/>
          </a:xfrm>
        </p:spPr>
        <p:txBody>
          <a:bodyPr/>
          <a:lstStyle>
            <a:lvl1pPr marL="201717" indent="-201717">
              <a:buFont typeface="+mj-lt"/>
              <a:buAutoNum type="arabicPeriod"/>
              <a:defRPr/>
            </a:lvl1pPr>
          </a:lstStyle>
          <a:p>
            <a:pPr marL="228600" indent="-228600">
              <a:buFont typeface="+mj-lt"/>
              <a:buAutoNum type="arabicPeriod"/>
            </a:pPr>
            <a:endParaRPr lang="en-CA" sz="1147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80999" y="2083372"/>
            <a:ext cx="4160520" cy="283464"/>
          </a:xfrm>
          <a:solidFill>
            <a:srgbClr val="002776"/>
          </a:solidFill>
        </p:spPr>
        <p:txBody>
          <a:bodyPr/>
          <a:lstStyle>
            <a:lvl1pPr marL="0" indent="0" algn="ctr">
              <a:buNone/>
              <a:defRPr sz="1412" b="1">
                <a:solidFill>
                  <a:schemeClr val="bg1"/>
                </a:solidFill>
              </a:defRPr>
            </a:lvl1pPr>
          </a:lstStyle>
          <a:p>
            <a:r>
              <a:rPr lang="en-CA" dirty="0"/>
              <a:t>Responsibiliti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46835" y="2083372"/>
            <a:ext cx="4160837" cy="283464"/>
          </a:xfrm>
          <a:solidFill>
            <a:srgbClr val="002776"/>
          </a:solidFill>
        </p:spPr>
        <p:txBody>
          <a:bodyPr/>
          <a:lstStyle>
            <a:lvl1pPr marL="0" indent="0" algn="ctr">
              <a:buNone/>
              <a:defRPr sz="1412" b="1">
                <a:solidFill>
                  <a:schemeClr val="bg1"/>
                </a:solidFill>
              </a:defRPr>
            </a:lvl1pPr>
          </a:lstStyle>
          <a:p>
            <a:r>
              <a:rPr lang="en-CA" dirty="0"/>
              <a:t>Rights</a:t>
            </a:r>
          </a:p>
        </p:txBody>
      </p:sp>
    </p:spTree>
    <p:extLst>
      <p:ext uri="{BB962C8B-B14F-4D97-AF65-F5344CB8AC3E}">
        <p14:creationId xmlns:p14="http://schemas.microsoft.com/office/powerpoint/2010/main" val="145474907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eneric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1" y="2670660"/>
            <a:ext cx="6492240" cy="1367943"/>
          </a:xfrm>
        </p:spPr>
        <p:txBody>
          <a:bodyPr/>
          <a:lstStyle>
            <a:lvl1pPr>
              <a:lnSpc>
                <a:spcPts val="5405"/>
              </a:lnSpc>
              <a:defRPr sz="5118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142821" y="4303059"/>
            <a:ext cx="3394364" cy="605118"/>
          </a:xfrm>
        </p:spPr>
        <p:txBody>
          <a:bodyPr/>
          <a:lstStyle>
            <a:lvl1pPr marL="0" indent="0">
              <a:buNone/>
              <a:defRPr sz="1765" b="1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412" b="1">
                <a:solidFill>
                  <a:schemeClr val="bg1"/>
                </a:solidFill>
              </a:defRPr>
            </a:lvl2pPr>
            <a:lvl3pPr>
              <a:defRPr sz="1412" b="1">
                <a:solidFill>
                  <a:schemeClr val="bg1"/>
                </a:solidFill>
              </a:defRPr>
            </a:lvl3pPr>
            <a:lvl4pPr>
              <a:defRPr sz="1412" b="1">
                <a:solidFill>
                  <a:schemeClr val="bg1"/>
                </a:solidFill>
              </a:defRPr>
            </a:lvl4pPr>
            <a:lvl5pPr>
              <a:defRPr sz="1412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 dirty="0"/>
              <a:t>Generic Divider</a:t>
            </a:r>
          </a:p>
        </p:txBody>
      </p:sp>
    </p:spTree>
    <p:extLst>
      <p:ext uri="{BB962C8B-B14F-4D97-AF65-F5344CB8AC3E}">
        <p14:creationId xmlns:p14="http://schemas.microsoft.com/office/powerpoint/2010/main" val="18286192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0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slideLayout" Target="../slideLayouts/slideLayout10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tags" Target="../tags/tag2.xml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10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6.emf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820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4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0999" y="180105"/>
            <a:ext cx="8412480" cy="594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923" tIns="50923" rIns="50923" bIns="509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GB" noProof="0" dirty="0"/>
              <a:t>Insert section title</a:t>
            </a:r>
          </a:p>
        </p:txBody>
      </p:sp>
      <p:sp>
        <p:nvSpPr>
          <p:cNvPr id="2734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0999" y="942099"/>
            <a:ext cx="8412480" cy="5577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923" tIns="50923" rIns="50923" bIns="509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GB" noProof="0" dirty="0"/>
              <a:t>Click to edit master text styles</a:t>
            </a:r>
          </a:p>
          <a:p>
            <a:pPr lvl="1"/>
            <a:r>
              <a:rPr lang="en-CA" altLang="en-GB" noProof="0" dirty="0"/>
              <a:t>Second level</a:t>
            </a:r>
          </a:p>
          <a:p>
            <a:pPr lvl="2"/>
            <a:r>
              <a:rPr lang="en-CA" altLang="en-GB" noProof="0" dirty="0"/>
              <a:t>Third level</a:t>
            </a:r>
          </a:p>
          <a:p>
            <a:pPr lvl="3"/>
            <a:r>
              <a:rPr lang="en-CA" altLang="en-GB" noProof="0" dirty="0"/>
              <a:t>Fourth level</a:t>
            </a:r>
          </a:p>
          <a:p>
            <a:pPr lvl="4"/>
            <a:r>
              <a:rPr lang="en-CA" altLang="en-GB" noProof="0" dirty="0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84674" y="6605978"/>
            <a:ext cx="548640" cy="163122"/>
          </a:xfrm>
          <a:prstGeom prst="rect">
            <a:avLst/>
          </a:prstGeom>
        </p:spPr>
        <p:txBody>
          <a:bodyPr lIns="101858" tIns="50929" rIns="101858" bIns="50929"/>
          <a:lstStyle>
            <a:lvl1pPr algn="ctr" eaLnBrk="0" hangingPunct="0">
              <a:lnSpc>
                <a:spcPct val="106000"/>
              </a:lnSpc>
              <a:buSzPct val="100000"/>
              <a:buFont typeface="Wingdings 2" pitchFamily="18" charset="2"/>
              <a:buNone/>
              <a:defRPr sz="971">
                <a:solidFill>
                  <a:srgbClr val="000000"/>
                </a:solidFill>
              </a:defRPr>
            </a:lvl1pPr>
          </a:lstStyle>
          <a:p>
            <a:pPr defTabSz="898484">
              <a:defRPr/>
            </a:pPr>
            <a:fld id="{2A2CB195-FDE1-4330-95FD-5BB79EF58721}" type="slidenum">
              <a:rPr lang="en-CA" smtClean="0"/>
              <a:pPr defTabSz="898484"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08866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</p:sldLayoutIdLst>
  <p:hf hdr="0" dt="0"/>
  <p:txStyles>
    <p:titleStyle>
      <a:lvl1pPr algn="l" rtl="0" eaLnBrk="1" fontAlgn="base" hangingPunct="1">
        <a:lnSpc>
          <a:spcPts val="2163"/>
        </a:lnSpc>
        <a:spcBef>
          <a:spcPct val="0"/>
        </a:spcBef>
        <a:spcAft>
          <a:spcPct val="0"/>
        </a:spcAft>
        <a:defRPr sz="2471" b="1">
          <a:solidFill>
            <a:srgbClr val="002776"/>
          </a:solidFill>
          <a:latin typeface="Calibri" panose="020F0502020204030204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6" b="1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6" b="1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6" b="1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6" b="1">
          <a:solidFill>
            <a:schemeClr val="tx1"/>
          </a:solidFill>
          <a:latin typeface="Verdana" pitchFamily="34" charset="0"/>
        </a:defRPr>
      </a:lvl5pPr>
      <a:lvl6pPr marL="449347" algn="l" rtl="0" eaLnBrk="1" fontAlgn="base" hangingPunct="1">
        <a:spcBef>
          <a:spcPct val="0"/>
        </a:spcBef>
        <a:spcAft>
          <a:spcPct val="0"/>
        </a:spcAft>
        <a:defRPr sz="2206" b="1">
          <a:solidFill>
            <a:schemeClr val="tx1"/>
          </a:solidFill>
          <a:latin typeface="Verdana" pitchFamily="34" charset="0"/>
        </a:defRPr>
      </a:lvl6pPr>
      <a:lvl7pPr marL="898695" algn="l" rtl="0" eaLnBrk="1" fontAlgn="base" hangingPunct="1">
        <a:spcBef>
          <a:spcPct val="0"/>
        </a:spcBef>
        <a:spcAft>
          <a:spcPct val="0"/>
        </a:spcAft>
        <a:defRPr sz="2206" b="1">
          <a:solidFill>
            <a:schemeClr val="tx1"/>
          </a:solidFill>
          <a:latin typeface="Verdana" pitchFamily="34" charset="0"/>
        </a:defRPr>
      </a:lvl7pPr>
      <a:lvl8pPr marL="1348043" algn="l" rtl="0" eaLnBrk="1" fontAlgn="base" hangingPunct="1">
        <a:spcBef>
          <a:spcPct val="0"/>
        </a:spcBef>
        <a:spcAft>
          <a:spcPct val="0"/>
        </a:spcAft>
        <a:defRPr sz="2206" b="1">
          <a:solidFill>
            <a:schemeClr val="tx1"/>
          </a:solidFill>
          <a:latin typeface="Verdana" pitchFamily="34" charset="0"/>
        </a:defRPr>
      </a:lvl8pPr>
      <a:lvl9pPr marL="1797391" algn="l" rtl="0" eaLnBrk="1" fontAlgn="base" hangingPunct="1">
        <a:spcBef>
          <a:spcPct val="0"/>
        </a:spcBef>
        <a:spcAft>
          <a:spcPct val="0"/>
        </a:spcAft>
        <a:defRPr sz="2206" b="1">
          <a:solidFill>
            <a:schemeClr val="tx1"/>
          </a:solidFill>
          <a:latin typeface="Verdana" pitchFamily="34" charset="0"/>
        </a:defRPr>
      </a:lvl9pPr>
    </p:titleStyle>
    <p:bodyStyle>
      <a:lvl1pPr marL="224673" indent="-224673" algn="l" rtl="0" eaLnBrk="1" fontAlgn="base" hangingPunct="1">
        <a:spcBef>
          <a:spcPct val="0"/>
        </a:spcBef>
        <a:spcAft>
          <a:spcPts val="295"/>
        </a:spcAft>
        <a:buChar char="•"/>
        <a:tabLst>
          <a:tab pos="5616847" algn="l"/>
        </a:tabLst>
        <a:defRPr sz="1059">
          <a:solidFill>
            <a:srgbClr val="002776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49347" indent="-224673" algn="l" rtl="0" eaLnBrk="1" fontAlgn="base" hangingPunct="1">
        <a:spcBef>
          <a:spcPct val="0"/>
        </a:spcBef>
        <a:spcAft>
          <a:spcPts val="295"/>
        </a:spcAft>
        <a:buChar char="–"/>
        <a:tabLst>
          <a:tab pos="5616847" algn="l"/>
        </a:tabLst>
        <a:defRPr sz="1059">
          <a:solidFill>
            <a:srgbClr val="002776"/>
          </a:solidFill>
          <a:latin typeface="Segoe UI" panose="020B0502040204020203" pitchFamily="34" charset="0"/>
          <a:cs typeface="Segoe UI" panose="020B0502040204020203" pitchFamily="34" charset="0"/>
        </a:defRPr>
      </a:lvl2pPr>
      <a:lvl3pPr marL="674021" indent="-224673" algn="l" rtl="0" eaLnBrk="1" fontAlgn="base" hangingPunct="1">
        <a:spcBef>
          <a:spcPct val="0"/>
        </a:spcBef>
        <a:spcAft>
          <a:spcPts val="295"/>
        </a:spcAft>
        <a:buFont typeface="Arial" pitchFamily="34" charset="0"/>
        <a:buChar char="•"/>
        <a:tabLst>
          <a:tab pos="5616847" algn="l"/>
        </a:tabLst>
        <a:defRPr sz="1059">
          <a:solidFill>
            <a:srgbClr val="002776"/>
          </a:solidFill>
          <a:latin typeface="Segoe UI" panose="020B0502040204020203" pitchFamily="34" charset="0"/>
          <a:cs typeface="Segoe UI" panose="020B0502040204020203" pitchFamily="34" charset="0"/>
        </a:defRPr>
      </a:lvl3pPr>
      <a:lvl4pPr marL="898695" indent="-224673" algn="l" rtl="0" eaLnBrk="1" fontAlgn="base" hangingPunct="1">
        <a:spcBef>
          <a:spcPct val="0"/>
        </a:spcBef>
        <a:spcAft>
          <a:spcPts val="295"/>
        </a:spcAft>
        <a:buChar char="–"/>
        <a:tabLst>
          <a:tab pos="5616847" algn="l"/>
        </a:tabLst>
        <a:defRPr sz="1059">
          <a:solidFill>
            <a:srgbClr val="002776"/>
          </a:solidFill>
          <a:latin typeface="Segoe UI" panose="020B0502040204020203" pitchFamily="34" charset="0"/>
          <a:cs typeface="Segoe UI" panose="020B0502040204020203" pitchFamily="34" charset="0"/>
        </a:defRPr>
      </a:lvl4pPr>
      <a:lvl5pPr marL="943943" indent="-184108" algn="l" rtl="0" eaLnBrk="1" fontAlgn="base" hangingPunct="1">
        <a:lnSpc>
          <a:spcPts val="1573"/>
        </a:lnSpc>
        <a:spcBef>
          <a:spcPct val="0"/>
        </a:spcBef>
        <a:spcAft>
          <a:spcPts val="295"/>
        </a:spcAft>
        <a:buChar char="–"/>
        <a:tabLst>
          <a:tab pos="5616847" algn="l"/>
        </a:tabLst>
        <a:defRPr sz="1059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5pPr>
      <a:lvl6pPr marL="1393289" indent="-184108" algn="l" rtl="0" eaLnBrk="1" fontAlgn="base" hangingPunct="1">
        <a:lnSpc>
          <a:spcPts val="1573"/>
        </a:lnSpc>
        <a:spcBef>
          <a:spcPct val="0"/>
        </a:spcBef>
        <a:spcAft>
          <a:spcPct val="0"/>
        </a:spcAft>
        <a:buChar char="–"/>
        <a:tabLst>
          <a:tab pos="5616847" algn="l"/>
        </a:tabLst>
        <a:defRPr sz="1147">
          <a:solidFill>
            <a:schemeClr val="tx1"/>
          </a:solidFill>
          <a:latin typeface="+mn-lt"/>
        </a:defRPr>
      </a:lvl6pPr>
      <a:lvl7pPr marL="1842637" indent="-184108" algn="l" rtl="0" eaLnBrk="1" fontAlgn="base" hangingPunct="1">
        <a:lnSpc>
          <a:spcPts val="1573"/>
        </a:lnSpc>
        <a:spcBef>
          <a:spcPct val="0"/>
        </a:spcBef>
        <a:spcAft>
          <a:spcPct val="0"/>
        </a:spcAft>
        <a:buChar char="–"/>
        <a:tabLst>
          <a:tab pos="5616847" algn="l"/>
        </a:tabLst>
        <a:defRPr sz="1147">
          <a:solidFill>
            <a:schemeClr val="tx1"/>
          </a:solidFill>
          <a:latin typeface="+mn-lt"/>
        </a:defRPr>
      </a:lvl7pPr>
      <a:lvl8pPr marL="2291988" indent="-184108" algn="l" rtl="0" eaLnBrk="1" fontAlgn="base" hangingPunct="1">
        <a:lnSpc>
          <a:spcPts val="1573"/>
        </a:lnSpc>
        <a:spcBef>
          <a:spcPct val="0"/>
        </a:spcBef>
        <a:spcAft>
          <a:spcPct val="0"/>
        </a:spcAft>
        <a:buChar char="–"/>
        <a:tabLst>
          <a:tab pos="5616847" algn="l"/>
        </a:tabLst>
        <a:defRPr sz="1147">
          <a:solidFill>
            <a:schemeClr val="tx1"/>
          </a:solidFill>
          <a:latin typeface="+mn-lt"/>
        </a:defRPr>
      </a:lvl8pPr>
      <a:lvl9pPr marL="2741334" indent="-184108" algn="l" rtl="0" eaLnBrk="1" fontAlgn="base" hangingPunct="1">
        <a:lnSpc>
          <a:spcPts val="1573"/>
        </a:lnSpc>
        <a:spcBef>
          <a:spcPct val="0"/>
        </a:spcBef>
        <a:spcAft>
          <a:spcPct val="0"/>
        </a:spcAft>
        <a:buChar char="–"/>
        <a:tabLst>
          <a:tab pos="5616847" algn="l"/>
        </a:tabLst>
        <a:defRPr sz="114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98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347" algn="l" defTabSz="898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8695" algn="l" defTabSz="898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043" algn="l" defTabSz="898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7391" algn="l" defTabSz="898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6740" algn="l" defTabSz="898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6085" algn="l" defTabSz="898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5435" algn="l" defTabSz="898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4780" algn="l" defTabSz="898695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67841"/>
            <a:ext cx="8686800" cy="287771"/>
          </a:xfrm>
          <a:prstGeom prst="rect">
            <a:avLst/>
          </a:prstGeom>
          <a:noFill/>
        </p:spPr>
        <p:txBody>
          <a:bodyPr vert="horz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188720"/>
            <a:ext cx="86868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492240"/>
            <a:ext cx="36576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14D5897-9566-4B10-8E83-0402586BB5C0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76855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buNone/>
        <a:defRPr sz="2200" kern="1200">
          <a:solidFill>
            <a:schemeClr val="bg1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900"/>
        </a:spcBef>
        <a:buFont typeface="Arial" panose="020B0604020202020204" pitchFamily="34" charset="0"/>
        <a:buChar char="•"/>
        <a:defRPr sz="1800" kern="1200">
          <a:solidFill>
            <a:srgbClr val="53585F"/>
          </a:solidFill>
          <a:latin typeface="+mn-lt"/>
          <a:ea typeface="+mn-ea"/>
          <a:cs typeface="+mn-cs"/>
        </a:defRPr>
      </a:lvl1pPr>
      <a:lvl2pPr marL="577850" indent="-228600" algn="l" defTabSz="914400" rtl="0" eaLnBrk="1" latinLnBrk="0" hangingPunct="1">
        <a:spcBef>
          <a:spcPts val="900"/>
        </a:spcBef>
        <a:buFont typeface="Arial" panose="020B0604020202020204" pitchFamily="34" charset="0"/>
        <a:buChar char="–"/>
        <a:defRPr sz="1600" kern="1200">
          <a:solidFill>
            <a:srgbClr val="53585F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900"/>
        </a:spcBef>
        <a:buFont typeface="Arial" panose="020B0604020202020204" pitchFamily="34" charset="0"/>
        <a:buChar char="•"/>
        <a:defRPr sz="1400" kern="1200">
          <a:solidFill>
            <a:srgbClr val="53585F"/>
          </a:solidFill>
          <a:latin typeface="+mn-lt"/>
          <a:ea typeface="+mn-ea"/>
          <a:cs typeface="+mn-cs"/>
        </a:defRPr>
      </a:lvl3pPr>
      <a:lvl4pPr marL="1263650" indent="-228600" algn="l" defTabSz="914400" rtl="0" eaLnBrk="1" latinLnBrk="0" hangingPunct="1">
        <a:spcBef>
          <a:spcPts val="900"/>
        </a:spcBef>
        <a:buFont typeface="Arial" panose="020B0604020202020204" pitchFamily="34" charset="0"/>
        <a:buChar char="–"/>
        <a:defRPr sz="1200" kern="1200">
          <a:solidFill>
            <a:srgbClr val="53585F"/>
          </a:solidFill>
          <a:latin typeface="+mn-lt"/>
          <a:ea typeface="+mn-ea"/>
          <a:cs typeface="+mn-cs"/>
        </a:defRPr>
      </a:lvl4pPr>
      <a:lvl5pPr marL="1600200" indent="-228600" algn="l" defTabSz="914400" rtl="0" eaLnBrk="1" latinLnBrk="0" hangingPunct="1">
        <a:spcBef>
          <a:spcPts val="900"/>
        </a:spcBef>
        <a:buFont typeface="Arial" panose="020B0604020202020204" pitchFamily="34" charset="0"/>
        <a:buChar char="»"/>
        <a:defRPr sz="1200" kern="1200">
          <a:solidFill>
            <a:srgbClr val="53585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595901"/>
            <a:ext cx="7886700" cy="4520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253447"/>
            <a:ext cx="7886700" cy="499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67953" y="365126"/>
            <a:ext cx="347395" cy="156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6568D480-13ED-0F45-AD5C-36A75B59463F}" type="slidenum">
              <a:rPr lang="en-US" kern="0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551" y="6405204"/>
            <a:ext cx="1235634" cy="20220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7928603" y="6435016"/>
            <a:ext cx="1215397" cy="420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600" b="0" u="sng" kern="0" baseline="30000" dirty="0">
                <a:solidFill>
                  <a:srgbClr val="4693AF"/>
                </a:solidFill>
                <a:latin typeface="Calibri" charset="0"/>
                <a:ea typeface="Calibri" charset="0"/>
                <a:cs typeface="Calibri" charset="0"/>
              </a:rPr>
              <a:t>agilebydesign.com</a:t>
            </a:r>
          </a:p>
          <a:p>
            <a:pPr algn="r"/>
            <a:r>
              <a:rPr lang="en-US" sz="1600" b="0" u="sng" kern="0" baseline="30000" dirty="0">
                <a:solidFill>
                  <a:srgbClr val="4693AF"/>
                </a:solidFill>
                <a:latin typeface="Calibri" charset="0"/>
                <a:ea typeface="Calibri" charset="0"/>
                <a:cs typeface="Calibri" charset="0"/>
              </a:rPr>
              <a:t>@</a:t>
            </a:r>
            <a:r>
              <a:rPr lang="en-US" sz="1600" b="0" u="sng" kern="0" baseline="30000" dirty="0" err="1">
                <a:solidFill>
                  <a:srgbClr val="4693AF"/>
                </a:solidFill>
                <a:latin typeface="Calibri" charset="0"/>
                <a:ea typeface="Calibri" charset="0"/>
                <a:cs typeface="Calibri" charset="0"/>
              </a:rPr>
              <a:t>agile_bydesign</a:t>
            </a:r>
            <a:endParaRPr lang="en-US" sz="1600" b="0" u="sng" kern="0" baseline="30000" dirty="0">
              <a:solidFill>
                <a:srgbClr val="4693AF"/>
              </a:solidFill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7920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6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100000">
              <a:srgbClr val="4693AF"/>
            </a:gs>
            <a:gs pos="0">
              <a:srgbClr val="414591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27" y="6371013"/>
            <a:ext cx="1571742" cy="257206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7436269" y="6398716"/>
            <a:ext cx="16460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en-US" sz="1200" u="sng" dirty="0">
                <a:solidFill>
                  <a:schemeClr val="bg1"/>
                </a:solidFill>
                <a:latin typeface="+mn-lt"/>
              </a:rPr>
              <a:t>agilebydesign.com</a:t>
            </a:r>
          </a:p>
          <a:p>
            <a:pPr lvl="0" algn="r"/>
            <a:r>
              <a:rPr lang="en-US" sz="1200" u="sng" dirty="0">
                <a:solidFill>
                  <a:schemeClr val="bg1"/>
                </a:solidFill>
                <a:latin typeface="+mn-lt"/>
              </a:rPr>
              <a:t>@</a:t>
            </a:r>
            <a:r>
              <a:rPr lang="en-US" sz="1200" u="sng" dirty="0" err="1">
                <a:solidFill>
                  <a:schemeClr val="bg1"/>
                </a:solidFill>
                <a:latin typeface="+mn-lt"/>
              </a:rPr>
              <a:t>agile_bydesign</a:t>
            </a:r>
            <a:endParaRPr lang="en-US" sz="1200" u="sng" dirty="0">
              <a:solidFill>
                <a:schemeClr val="bg1"/>
              </a:solidFill>
              <a:latin typeface="+mn-lt"/>
            </a:endParaRPr>
          </a:p>
          <a:p>
            <a:pPr lvl="0" algn="r"/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1070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2880" y="512064"/>
            <a:ext cx="8211312" cy="40011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2" y="1216151"/>
            <a:ext cx="822960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>
          <a:xfrm>
            <a:off x="371074" y="6600053"/>
            <a:ext cx="414143" cy="163513"/>
          </a:xfrm>
          <a:prstGeom prst="rect">
            <a:avLst/>
          </a:prstGeom>
        </p:spPr>
        <p:txBody>
          <a:bodyPr lIns="82021" tIns="41010" rIns="82021" bIns="41010" anchor="ctr"/>
          <a:lstStyle>
            <a:defPPr>
              <a:defRPr lang="en-US"/>
            </a:defPPr>
            <a:lvl1pPr marL="0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33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65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99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31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65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96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530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60" algn="l" defTabSz="9138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664B4472-A98D-4867-A850-DC019789AC36}" type="slidenum"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ctr"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Slide Number Placeholder 1"/>
          <p:cNvSpPr txBox="1">
            <a:spLocks/>
          </p:cNvSpPr>
          <p:nvPr userDrawn="1"/>
        </p:nvSpPr>
        <p:spPr>
          <a:xfrm>
            <a:off x="371074" y="6600053"/>
            <a:ext cx="414143" cy="1635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 b="1" dirty="0">
              <a:solidFill>
                <a:srgbClr val="0027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217" y="6545764"/>
            <a:ext cx="1449983" cy="237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628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2000" b="0" kern="1200">
          <a:solidFill>
            <a:srgbClr val="000000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30188" indent="-230188" algn="l" defTabSz="457200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60375" indent="-230188" algn="l" defTabSz="457200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28650" indent="-168275" algn="l" defTabSz="457200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858838" indent="-230188" algn="l" defTabSz="457200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089025" indent="-230188" algn="l" defTabSz="457200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943" y="75629"/>
            <a:ext cx="8998857" cy="34747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438" y="609599"/>
            <a:ext cx="8996362" cy="57785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Line 4"/>
          <p:cNvSpPr>
            <a:spLocks noChangeShapeType="1"/>
          </p:cNvSpPr>
          <p:nvPr userDrawn="1"/>
        </p:nvSpPr>
        <p:spPr bwMode="auto">
          <a:xfrm flipV="1">
            <a:off x="71438" y="6482171"/>
            <a:ext cx="8997696" cy="0"/>
          </a:xfrm>
          <a:prstGeom prst="line">
            <a:avLst/>
          </a:prstGeom>
          <a:noFill/>
          <a:ln w="9525">
            <a:solidFill>
              <a:srgbClr val="82828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endParaRPr lang="en-CA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4411663" y="6612759"/>
            <a:ext cx="320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defRPr/>
            </a:pPr>
            <a:fld id="{E3C62BDA-FEF5-462D-9E25-31FC237A2F61}" type="slidenum">
              <a:rPr lang="en-US" sz="1000" smtClean="0">
                <a:solidFill>
                  <a:schemeClr val="accent2"/>
                </a:solidFill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160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4" r:id="rId15"/>
    <p:sldLayoutId id="2147483785" r:id="rId16"/>
    <p:sldLayoutId id="2147483786" r:id="rId17"/>
    <p:sldLayoutId id="2147483788" r:id="rId18"/>
  </p:sldLayoutIdLst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0510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400" kern="1200">
          <a:solidFill>
            <a:srgbClr val="00051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4025" indent="-279400" algn="l" defTabSz="914400" rtl="0" eaLnBrk="1" latinLnBrk="0" hangingPunct="1">
        <a:spcBef>
          <a:spcPts val="0"/>
        </a:spcBef>
        <a:spcAft>
          <a:spcPts val="1000"/>
        </a:spcAft>
        <a:buSzPct val="90000"/>
        <a:buFont typeface="Wingdings" panose="05000000000000000000" pitchFamily="2" charset="2"/>
        <a:buChar char="§"/>
        <a:defRPr sz="1400" kern="1200">
          <a:solidFill>
            <a:srgbClr val="00051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71550" indent="-282575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200" kern="1200">
          <a:solidFill>
            <a:srgbClr val="00051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5900" indent="-282575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000" kern="1200">
          <a:solidFill>
            <a:srgbClr val="00051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943" y="75629"/>
            <a:ext cx="8998857" cy="34747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438" y="609599"/>
            <a:ext cx="8996362" cy="57785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91518" y="6578627"/>
            <a:ext cx="1176282" cy="210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Line 4"/>
          <p:cNvSpPr>
            <a:spLocks noChangeShapeType="1"/>
          </p:cNvSpPr>
          <p:nvPr userDrawn="1"/>
        </p:nvSpPr>
        <p:spPr bwMode="auto">
          <a:xfrm flipV="1">
            <a:off x="71438" y="6482171"/>
            <a:ext cx="8997696" cy="0"/>
          </a:xfrm>
          <a:prstGeom prst="line">
            <a:avLst/>
          </a:prstGeom>
          <a:noFill/>
          <a:ln w="9525">
            <a:solidFill>
              <a:srgbClr val="82828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endParaRPr lang="en-CA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4411663" y="6612759"/>
            <a:ext cx="320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defRPr/>
            </a:pPr>
            <a:fld id="{E3C62BDA-FEF5-462D-9E25-31FC237A2F61}" type="slidenum">
              <a:rPr lang="en-US" sz="1000" smtClean="0">
                <a:solidFill>
                  <a:schemeClr val="accent2"/>
                </a:solidFill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789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6" r:id="rId15"/>
    <p:sldLayoutId id="2147483808" r:id="rId16"/>
    <p:sldLayoutId id="2147483809" r:id="rId17"/>
  </p:sldLayoutIdLst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0510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400" kern="1200">
          <a:solidFill>
            <a:srgbClr val="00051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4025" indent="-279400" algn="l" defTabSz="914400" rtl="0" eaLnBrk="1" latinLnBrk="0" hangingPunct="1">
        <a:spcBef>
          <a:spcPts val="0"/>
        </a:spcBef>
        <a:spcAft>
          <a:spcPts val="1000"/>
        </a:spcAft>
        <a:buSzPct val="90000"/>
        <a:buFont typeface="Wingdings" panose="05000000000000000000" pitchFamily="2" charset="2"/>
        <a:buChar char="§"/>
        <a:defRPr sz="1400" kern="1200">
          <a:solidFill>
            <a:srgbClr val="00051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71550" indent="-282575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200" kern="1200">
          <a:solidFill>
            <a:srgbClr val="00051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5900" indent="-282575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000" kern="1200">
          <a:solidFill>
            <a:srgbClr val="00051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309A6D-C09C-4548-B29A-6CF363A7E532}" type="datetimeFigureOut">
              <a:rPr lang="fr-FR" smtClean="0"/>
              <a:t>25/03/2021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902808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4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0999" y="180105"/>
            <a:ext cx="8412480" cy="594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5693" tIns="45693" rIns="45693" bIns="4569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GB" noProof="0" dirty="0"/>
              <a:t>Insert section title</a:t>
            </a:r>
          </a:p>
        </p:txBody>
      </p:sp>
      <p:sp>
        <p:nvSpPr>
          <p:cNvPr id="2734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0999" y="850900"/>
            <a:ext cx="8412480" cy="5626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5693" tIns="45693" rIns="45693" bIns="456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GB" noProof="0" dirty="0"/>
              <a:t>Click to edit master text styles</a:t>
            </a:r>
          </a:p>
          <a:p>
            <a:pPr lvl="1"/>
            <a:r>
              <a:rPr lang="en-CA" altLang="en-GB" noProof="0" dirty="0"/>
              <a:t>Second level</a:t>
            </a:r>
          </a:p>
          <a:p>
            <a:pPr lvl="2"/>
            <a:r>
              <a:rPr lang="en-CA" altLang="en-GB" noProof="0" dirty="0"/>
              <a:t>Third level</a:t>
            </a:r>
          </a:p>
          <a:p>
            <a:pPr lvl="3"/>
            <a:r>
              <a:rPr lang="en-CA" altLang="en-GB" noProof="0" dirty="0"/>
              <a:t>Fourth level</a:t>
            </a:r>
          </a:p>
          <a:p>
            <a:pPr lvl="4"/>
            <a:r>
              <a:rPr lang="en-CA" altLang="en-GB" noProof="0" dirty="0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071" y="6600050"/>
            <a:ext cx="414143" cy="16351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defTabSz="913865">
              <a:defRPr/>
            </a:pPr>
            <a:fld id="{664B4472-A98D-4867-A850-DC019789AC36}" type="slidenum">
              <a:rPr lang="en-US" sz="1000" b="1" smtClean="0">
                <a:solidFill>
                  <a:srgbClr val="002776"/>
                </a:solidFill>
                <a:cs typeface="Arial" charset="0"/>
              </a:rPr>
              <a:pPr defTabSz="913865">
                <a:defRPr/>
              </a:pPr>
              <a:t>‹#›</a:t>
            </a:fld>
            <a:endParaRPr lang="en-US" sz="1000" b="1" dirty="0">
              <a:solidFill>
                <a:srgbClr val="00277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610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  <p:sldLayoutId id="2147483841" r:id="rId17"/>
  </p:sldLayoutIdLst>
  <p:hf hdr="0" ft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800" b="1">
          <a:solidFill>
            <a:srgbClr val="002776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5pPr>
      <a:lvl6pPr marL="456933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6pPr>
      <a:lvl7pPr marL="913865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7pPr>
      <a:lvl8pPr marL="13707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8pPr>
      <a:lvl9pPr marL="1827731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9pPr>
    </p:titleStyle>
    <p:bodyStyle>
      <a:lvl1pPr marL="228465" indent="-228465" algn="l" rtl="0" eaLnBrk="1" fontAlgn="base" hangingPunct="1">
        <a:spcBef>
          <a:spcPct val="0"/>
        </a:spcBef>
        <a:spcAft>
          <a:spcPts val="300"/>
        </a:spcAft>
        <a:buChar char="•"/>
        <a:tabLst>
          <a:tab pos="5711660" algn="l"/>
        </a:tabLst>
        <a:defRPr sz="1100">
          <a:solidFill>
            <a:srgbClr val="002776"/>
          </a:solidFill>
          <a:latin typeface="Arial" pitchFamily="34" charset="0"/>
          <a:ea typeface="+mn-ea"/>
          <a:cs typeface="Arial" pitchFamily="34" charset="0"/>
        </a:defRPr>
      </a:lvl1pPr>
      <a:lvl2pPr marL="456933" indent="-228465" algn="l" rtl="0" eaLnBrk="1" fontAlgn="base" hangingPunct="1">
        <a:spcBef>
          <a:spcPct val="0"/>
        </a:spcBef>
        <a:spcAft>
          <a:spcPts val="300"/>
        </a:spcAft>
        <a:buChar char="–"/>
        <a:tabLst>
          <a:tab pos="5711660" algn="l"/>
        </a:tabLst>
        <a:defRPr sz="1100">
          <a:solidFill>
            <a:srgbClr val="002776"/>
          </a:solidFill>
          <a:latin typeface="Arial" pitchFamily="34" charset="0"/>
          <a:cs typeface="Arial" pitchFamily="34" charset="0"/>
        </a:defRPr>
      </a:lvl2pPr>
      <a:lvl3pPr marL="685399" indent="-228465" algn="l" rtl="0" eaLnBrk="1" fontAlgn="base" hangingPunct="1">
        <a:spcBef>
          <a:spcPct val="0"/>
        </a:spcBef>
        <a:spcAft>
          <a:spcPts val="300"/>
        </a:spcAft>
        <a:buFont typeface="Arial" pitchFamily="34" charset="0"/>
        <a:buChar char="•"/>
        <a:tabLst>
          <a:tab pos="5711660" algn="l"/>
        </a:tabLst>
        <a:defRPr sz="1100">
          <a:solidFill>
            <a:srgbClr val="002776"/>
          </a:solidFill>
          <a:latin typeface="Arial" pitchFamily="34" charset="0"/>
          <a:cs typeface="Arial" pitchFamily="34" charset="0"/>
        </a:defRPr>
      </a:lvl3pPr>
      <a:lvl4pPr marL="913865" indent="-228465" algn="l" rtl="0" eaLnBrk="1" fontAlgn="base" hangingPunct="1">
        <a:spcBef>
          <a:spcPct val="0"/>
        </a:spcBef>
        <a:spcAft>
          <a:spcPts val="300"/>
        </a:spcAft>
        <a:buChar char="–"/>
        <a:tabLst>
          <a:tab pos="5711660" algn="l"/>
        </a:tabLst>
        <a:defRPr sz="1100">
          <a:solidFill>
            <a:srgbClr val="002776"/>
          </a:solidFill>
          <a:latin typeface="Arial" pitchFamily="34" charset="0"/>
          <a:cs typeface="Arial" pitchFamily="34" charset="0"/>
        </a:defRPr>
      </a:lvl4pPr>
      <a:lvl5pPr marL="959877" indent="-187216" algn="l" rtl="0" eaLnBrk="1" fontAlgn="base" hangingPunct="1">
        <a:lnSpc>
          <a:spcPts val="1600"/>
        </a:lnSpc>
        <a:spcBef>
          <a:spcPct val="0"/>
        </a:spcBef>
        <a:spcAft>
          <a:spcPts val="300"/>
        </a:spcAft>
        <a:buChar char="–"/>
        <a:tabLst>
          <a:tab pos="5711660" algn="l"/>
        </a:tabLst>
        <a:defRPr sz="1100">
          <a:solidFill>
            <a:schemeClr val="tx1"/>
          </a:solidFill>
          <a:latin typeface="+mn-lt"/>
        </a:defRPr>
      </a:lvl5pPr>
      <a:lvl6pPr marL="1416808" indent="-187216" algn="l" rtl="0" eaLnBrk="1" fontAlgn="base" hangingPunct="1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1660" algn="l"/>
        </a:tabLst>
        <a:defRPr sz="1200">
          <a:solidFill>
            <a:schemeClr val="tx1"/>
          </a:solidFill>
          <a:latin typeface="+mn-lt"/>
        </a:defRPr>
      </a:lvl6pPr>
      <a:lvl7pPr marL="1873741" indent="-187216" algn="l" rtl="0" eaLnBrk="1" fontAlgn="base" hangingPunct="1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1660" algn="l"/>
        </a:tabLst>
        <a:defRPr sz="1200">
          <a:solidFill>
            <a:schemeClr val="tx1"/>
          </a:solidFill>
          <a:latin typeface="+mn-lt"/>
        </a:defRPr>
      </a:lvl7pPr>
      <a:lvl8pPr marL="2330677" indent="-187216" algn="l" rtl="0" eaLnBrk="1" fontAlgn="base" hangingPunct="1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1660" algn="l"/>
        </a:tabLst>
        <a:defRPr sz="1200">
          <a:solidFill>
            <a:schemeClr val="tx1"/>
          </a:solidFill>
          <a:latin typeface="+mn-lt"/>
        </a:defRPr>
      </a:lvl8pPr>
      <a:lvl9pPr marL="2787608" indent="-187216" algn="l" rtl="0" eaLnBrk="1" fontAlgn="base" hangingPunct="1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1660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3" algn="l" defTabSz="9138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65" algn="l" defTabSz="9138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99" algn="l" defTabSz="9138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31" algn="l" defTabSz="9138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65" algn="l" defTabSz="9138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96" algn="l" defTabSz="9138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30" algn="l" defTabSz="9138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60" algn="l" defTabSz="9138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368300" y="358775"/>
            <a:ext cx="8391525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GB" dirty="0"/>
              <a:t>Insert section title</a:t>
            </a:r>
          </a:p>
        </p:txBody>
      </p:sp>
      <p:sp>
        <p:nvSpPr>
          <p:cNvPr id="1027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8300" y="1308100"/>
            <a:ext cx="8394700" cy="5008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altLang="en-GB" dirty="0"/>
              <a:t>Click to edit master text styles</a:t>
            </a:r>
          </a:p>
          <a:p>
            <a:pPr lvl="1"/>
            <a:r>
              <a:rPr lang="en-CA" altLang="en-GB" dirty="0"/>
              <a:t>Second level</a:t>
            </a:r>
          </a:p>
          <a:p>
            <a:pPr lvl="2"/>
            <a:r>
              <a:rPr lang="en-CA" altLang="en-GB" dirty="0"/>
              <a:t>Third level</a:t>
            </a:r>
          </a:p>
          <a:p>
            <a:pPr lvl="3"/>
            <a:r>
              <a:rPr lang="en-CA" altLang="en-GB" dirty="0"/>
              <a:t>Fourth level</a:t>
            </a:r>
          </a:p>
        </p:txBody>
      </p:sp>
      <p:sp>
        <p:nvSpPr>
          <p:cNvPr id="3096" name="Text Box 24"/>
          <p:cNvSpPr txBox="1">
            <a:spLocks noChangeArrowheads="1"/>
          </p:cNvSpPr>
          <p:nvPr/>
        </p:nvSpPr>
        <p:spPr bwMode="auto">
          <a:xfrm>
            <a:off x="4572000" y="6500813"/>
            <a:ext cx="4189413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tabLst>
                <a:tab pos="8342313" algn="r"/>
              </a:tabLst>
              <a:defRPr/>
            </a:pPr>
            <a:r>
              <a:rPr lang="en-US" sz="800" dirty="0">
                <a:solidFill>
                  <a:srgbClr val="000066"/>
                </a:solidFill>
                <a:latin typeface="Calibri" panose="020F0502020204030204" pitchFamily="34" charset="0"/>
              </a:rPr>
              <a:t>	© Deloitte &amp; </a:t>
            </a:r>
            <a:r>
              <a:rPr lang="en-US" sz="800" dirty="0" err="1">
                <a:solidFill>
                  <a:srgbClr val="000066"/>
                </a:solidFill>
                <a:latin typeface="Calibri" panose="020F0502020204030204" pitchFamily="34" charset="0"/>
              </a:rPr>
              <a:t>Touche</a:t>
            </a:r>
            <a:r>
              <a:rPr lang="en-US" sz="800" dirty="0">
                <a:solidFill>
                  <a:srgbClr val="000066"/>
                </a:solidFill>
                <a:latin typeface="Calibri" panose="020F0502020204030204" pitchFamily="34" charset="0"/>
              </a:rPr>
              <a:t> LLP </a:t>
            </a:r>
            <a:r>
              <a:rPr lang="en-US" sz="800" dirty="0">
                <a:solidFill>
                  <a:srgbClr val="000066"/>
                </a:solidFill>
                <a:latin typeface="Calibri" panose="020F0502020204030204" pitchFamily="34" charset="0"/>
                <a:cs typeface="Times New Roman" pitchFamily="18" charset="0"/>
              </a:rPr>
              <a:t>and affiliated entities.</a:t>
            </a:r>
          </a:p>
        </p:txBody>
      </p:sp>
      <p:sp>
        <p:nvSpPr>
          <p:cNvPr id="3099" name="Rectangle 2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3900" y="6519863"/>
            <a:ext cx="5243513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spcBef>
                <a:spcPct val="0"/>
              </a:spcBef>
              <a:defRPr sz="800">
                <a:latin typeface="Calibri" panose="020F0502020204030204" pitchFamily="34" charset="0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dirty="0">
                <a:solidFill>
                  <a:srgbClr val="000066"/>
                </a:solidFill>
              </a:rPr>
              <a:t>Presentation Name</a:t>
            </a:r>
          </a:p>
        </p:txBody>
      </p:sp>
      <p:sp>
        <p:nvSpPr>
          <p:cNvPr id="3100" name="Rectangle 2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73063" y="6523038"/>
            <a:ext cx="19050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spcBef>
                <a:spcPct val="0"/>
              </a:spcBef>
              <a:defRPr sz="800">
                <a:latin typeface="Calibri" panose="020F0502020204030204" pitchFamily="34" charset="0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038BAA83-740C-483E-AF88-5526F3413535}" type="slidenum">
              <a:rPr lang="en-US" smtClean="0">
                <a:solidFill>
                  <a:srgbClr val="000066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365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Verdana" pitchFamily="34" charset="0"/>
        </a:defRPr>
      </a:lvl9pPr>
    </p:titleStyle>
    <p:bodyStyle>
      <a:lvl1pPr marL="190500" indent="-190500" algn="l" rtl="0" eaLnBrk="0" fontAlgn="base" hangingPunct="0">
        <a:spcBef>
          <a:spcPct val="0"/>
        </a:spcBef>
        <a:spcAft>
          <a:spcPct val="50000"/>
        </a:spcAft>
        <a:buChar char="•"/>
        <a:tabLst>
          <a:tab pos="5715000" algn="l"/>
        </a:tabLst>
        <a:defRPr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2588" indent="-190500" algn="l" rtl="0" eaLnBrk="0" fontAlgn="base" hangingPunct="0">
        <a:spcBef>
          <a:spcPct val="0"/>
        </a:spcBef>
        <a:spcAft>
          <a:spcPct val="50000"/>
        </a:spcAft>
        <a:buChar char="–"/>
        <a:tabLst>
          <a:tab pos="5715000" algn="l"/>
        </a:tabLst>
        <a:defRPr sz="1600">
          <a:solidFill>
            <a:schemeClr val="tx1"/>
          </a:solidFill>
          <a:latin typeface="Calibri" panose="020F0502020204030204" pitchFamily="34" charset="0"/>
        </a:defRPr>
      </a:lvl2pPr>
      <a:lvl3pPr marL="574675" indent="-190500" algn="l" rtl="0" eaLnBrk="0" fontAlgn="base" hangingPunct="0">
        <a:spcBef>
          <a:spcPct val="0"/>
        </a:spcBef>
        <a:spcAft>
          <a:spcPct val="50000"/>
        </a:spcAft>
        <a:buChar char="–"/>
        <a:tabLst>
          <a:tab pos="5715000" algn="l"/>
        </a:tabLst>
        <a:defRPr sz="1400">
          <a:solidFill>
            <a:schemeClr val="tx1"/>
          </a:solidFill>
          <a:latin typeface="Calibri" panose="020F0502020204030204" pitchFamily="34" charset="0"/>
        </a:defRPr>
      </a:lvl3pPr>
      <a:lvl4pPr marL="771525" indent="-195263" algn="l" rtl="0" eaLnBrk="0" fontAlgn="base" hangingPunct="0">
        <a:spcBef>
          <a:spcPct val="0"/>
        </a:spcBef>
        <a:spcAft>
          <a:spcPct val="5000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Calibri" panose="020F0502020204030204" pitchFamily="34" charset="0"/>
        </a:defRPr>
      </a:lvl4pPr>
      <a:lvl5pPr marL="960438" indent="-187325" algn="l" rtl="0" eaLnBrk="0" fontAlgn="base" hangingPunct="0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5pPr>
      <a:lvl6pPr marL="1417638" indent="-187325" algn="l" rtl="0" eaLnBrk="1" fontAlgn="base" hangingPunct="1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6pPr>
      <a:lvl7pPr marL="1874838" indent="-187325" algn="l" rtl="0" eaLnBrk="1" fontAlgn="base" hangingPunct="1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7pPr>
      <a:lvl8pPr marL="2332038" indent="-187325" algn="l" rtl="0" eaLnBrk="1" fontAlgn="base" hangingPunct="1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8pPr>
      <a:lvl9pPr marL="2789238" indent="-187325" algn="l" rtl="0" eaLnBrk="1" fontAlgn="base" hangingPunct="1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8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8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8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8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8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8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8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0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tiff"/><Relationship Id="rId3" Type="http://schemas.openxmlformats.org/officeDocument/2006/relationships/image" Target="../media/image43.png"/><Relationship Id="rId7" Type="http://schemas.openxmlformats.org/officeDocument/2006/relationships/image" Target="../media/image47.jpeg"/><Relationship Id="rId12" Type="http://schemas.openxmlformats.org/officeDocument/2006/relationships/image" Target="../media/image52.png"/><Relationship Id="rId17" Type="http://schemas.openxmlformats.org/officeDocument/2006/relationships/image" Target="../media/image57.tiff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6.jpeg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46.jpeg"/><Relationship Id="rId11" Type="http://schemas.openxmlformats.org/officeDocument/2006/relationships/image" Target="../media/image51.tiff"/><Relationship Id="rId5" Type="http://schemas.openxmlformats.org/officeDocument/2006/relationships/image" Target="../media/image45.jpeg"/><Relationship Id="rId15" Type="http://schemas.openxmlformats.org/officeDocument/2006/relationships/image" Target="../media/image55.jpeg"/><Relationship Id="rId10" Type="http://schemas.openxmlformats.org/officeDocument/2006/relationships/image" Target="../media/image50.tiff"/><Relationship Id="rId4" Type="http://schemas.openxmlformats.org/officeDocument/2006/relationships/image" Target="../media/image44.png"/><Relationship Id="rId9" Type="http://schemas.openxmlformats.org/officeDocument/2006/relationships/image" Target="../media/image49.tiff"/><Relationship Id="rId14" Type="http://schemas.openxmlformats.org/officeDocument/2006/relationships/image" Target="../media/image54.tiff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8321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568321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1786010" y="2908510"/>
            <a:ext cx="5790576" cy="1384995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376092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Agile Internal Training Day 2</a:t>
            </a:r>
            <a:endParaRPr kumimoji="0" lang="en-US" sz="4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740670" y="6122894"/>
            <a:ext cx="1403330" cy="73510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" y="645540"/>
            <a:ext cx="1127597" cy="2262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904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7B152A1-3B69-4729-AAE7-4190A2C623A8}"/>
              </a:ext>
            </a:extLst>
          </p:cNvPr>
          <p:cNvSpPr/>
          <p:nvPr/>
        </p:nvSpPr>
        <p:spPr bwMode="auto">
          <a:xfrm>
            <a:off x="2303748" y="3140968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Payments Custom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B870B26-4F3B-43E7-B7D2-EB1C0CE37F18}"/>
              </a:ext>
            </a:extLst>
          </p:cNvPr>
          <p:cNvSpPr/>
          <p:nvPr/>
        </p:nvSpPr>
        <p:spPr bwMode="auto">
          <a:xfrm>
            <a:off x="2303748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Sign Up For Payments Produc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906723-8627-4722-A9E0-210F25ACBA2A}"/>
              </a:ext>
            </a:extLst>
          </p:cNvPr>
          <p:cNvSpPr/>
          <p:nvPr/>
        </p:nvSpPr>
        <p:spPr bwMode="auto">
          <a:xfrm>
            <a:off x="3455876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Make A Pay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6F32F6-456F-4456-98DD-314DF5B8DAF9}"/>
              </a:ext>
            </a:extLst>
          </p:cNvPr>
          <p:cNvSpPr/>
          <p:nvPr/>
        </p:nvSpPr>
        <p:spPr bwMode="auto">
          <a:xfrm>
            <a:off x="4608004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Reverse A Paym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2896BA-068F-47DC-8B45-3EC96A6185D1}"/>
              </a:ext>
            </a:extLst>
          </p:cNvPr>
          <p:cNvSpPr/>
          <p:nvPr/>
        </p:nvSpPr>
        <p:spPr bwMode="auto">
          <a:xfrm>
            <a:off x="5976156" y="3140968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Payments Admi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2CC4DB-A5AC-40CD-9CA1-89EFB6B0A5FB}"/>
              </a:ext>
            </a:extLst>
          </p:cNvPr>
          <p:cNvSpPr/>
          <p:nvPr/>
        </p:nvSpPr>
        <p:spPr bwMode="auto">
          <a:xfrm>
            <a:off x="5976156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Review Customer Paym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9B0159-619C-4560-8AC7-5FE38C9DD8C0}"/>
              </a:ext>
            </a:extLst>
          </p:cNvPr>
          <p:cNvSpPr/>
          <p:nvPr/>
        </p:nvSpPr>
        <p:spPr bwMode="auto">
          <a:xfrm>
            <a:off x="7200292" y="3773218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Maintain Customer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B437981-6B97-418B-ACCC-D9DD6B59A06B}"/>
              </a:ext>
            </a:extLst>
          </p:cNvPr>
          <p:cNvCxnSpPr>
            <a:cxnSpLocks/>
          </p:cNvCxnSpPr>
          <p:nvPr/>
        </p:nvCxnSpPr>
        <p:spPr bwMode="auto">
          <a:xfrm>
            <a:off x="2940382" y="2708920"/>
            <a:ext cx="0" cy="432048"/>
          </a:xfrm>
          <a:prstGeom prst="straightConnector1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30A6CAC-9486-4F2E-90E9-DE83515EA56C}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3995936" y="4437112"/>
            <a:ext cx="0" cy="432048"/>
          </a:xfrm>
          <a:prstGeom prst="straightConnector1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60A68CEF-0A5B-43CB-9580-A519C9686342}"/>
              </a:ext>
            </a:extLst>
          </p:cNvPr>
          <p:cNvGraphicFramePr>
            <a:graphicFrameLocks noGrp="1"/>
          </p:cNvGraphicFramePr>
          <p:nvPr/>
        </p:nvGraphicFramePr>
        <p:xfrm>
          <a:off x="251520" y="940523"/>
          <a:ext cx="2772268" cy="1142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0641">
                  <a:extLst>
                    <a:ext uri="{9D8B030D-6E8A-4147-A177-3AD203B41FA5}">
                      <a16:colId xmlns:a16="http://schemas.microsoft.com/office/drawing/2014/main" val="1801352779"/>
                    </a:ext>
                  </a:extLst>
                </a:gridCol>
                <a:gridCol w="1131627">
                  <a:extLst>
                    <a:ext uri="{9D8B030D-6E8A-4147-A177-3AD203B41FA5}">
                      <a16:colId xmlns:a16="http://schemas.microsoft.com/office/drawing/2014/main" val="232780794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n-CA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count </a:t>
                      </a:r>
                      <a:endParaRPr lang="en-CA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442559"/>
                  </a:ext>
                </a:extLst>
              </a:tr>
              <a:tr h="374950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longs to a Custome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stome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6074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 An Account Type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DDA, Saving, Checking, </a:t>
                      </a:r>
                      <a:r>
                        <a:rPr lang="en-CA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tc</a:t>
                      </a:r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649089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3B481C1D-7A34-42CB-B4A0-DBD7EF94FAB0}"/>
              </a:ext>
            </a:extLst>
          </p:cNvPr>
          <p:cNvGraphicFramePr>
            <a:graphicFrameLocks noGrp="1"/>
          </p:cNvGraphicFramePr>
          <p:nvPr/>
        </p:nvGraphicFramePr>
        <p:xfrm>
          <a:off x="345044" y="5000006"/>
          <a:ext cx="2520244" cy="1176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1492">
                  <a:extLst>
                    <a:ext uri="{9D8B030D-6E8A-4147-A177-3AD203B41FA5}">
                      <a16:colId xmlns:a16="http://schemas.microsoft.com/office/drawing/2014/main" val="1801352779"/>
                    </a:ext>
                  </a:extLst>
                </a:gridCol>
                <a:gridCol w="1028752">
                  <a:extLst>
                    <a:ext uri="{9D8B030D-6E8A-4147-A177-3AD203B41FA5}">
                      <a16:colId xmlns:a16="http://schemas.microsoft.com/office/drawing/2014/main" val="232780794"/>
                    </a:ext>
                  </a:extLst>
                </a:gridCol>
              </a:tblGrid>
              <a:tr h="337127">
                <a:tc gridSpan="2">
                  <a:txBody>
                    <a:bodyPr/>
                    <a:lstStyle/>
                    <a:p>
                      <a:r>
                        <a:rPr lang="en-CA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duct PMT Agreement </a:t>
                      </a:r>
                      <a:endParaRPr lang="en-CA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3127" marR="83127" marT="41564" marB="41564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442559"/>
                  </a:ext>
                </a:extLst>
              </a:tr>
              <a:tr h="340864">
                <a:tc>
                  <a:txBody>
                    <a:bodyPr/>
                    <a:lstStyle/>
                    <a:p>
                      <a:r>
                        <a:rPr lang="en-CA" sz="9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reed To By A Customer</a:t>
                      </a:r>
                    </a:p>
                  </a:txBody>
                  <a:tcPr marL="83127" marR="83127" marT="41564" marB="41564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9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stomer</a:t>
                      </a:r>
                    </a:p>
                  </a:txBody>
                  <a:tcPr marL="83127" marR="83127" marT="41564" marB="41564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6074966"/>
                  </a:ext>
                </a:extLst>
              </a:tr>
              <a:tr h="498764">
                <a:tc>
                  <a:txBody>
                    <a:bodyPr/>
                    <a:lstStyle/>
                    <a:p>
                      <a:r>
                        <a:rPr lang="en-CA" sz="9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 Use Products</a:t>
                      </a:r>
                    </a:p>
                    <a:p>
                      <a:endParaRPr lang="en-CA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CA" sz="9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 Owned</a:t>
                      </a:r>
                    </a:p>
                  </a:txBody>
                  <a:tcPr marL="83127" marR="83127" marT="41564" marB="41564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9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yment Product</a:t>
                      </a:r>
                    </a:p>
                    <a:p>
                      <a:endParaRPr lang="en-CA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CA" sz="9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wner</a:t>
                      </a:r>
                    </a:p>
                  </a:txBody>
                  <a:tcPr marL="83127" marR="83127" marT="41564" marB="41564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649089"/>
                  </a:ext>
                </a:extLst>
              </a:tr>
            </a:tbl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157DCBFE-D1CE-477C-AD18-60BDB679E76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2049"/>
          <a:stretch/>
        </p:blipFill>
        <p:spPr>
          <a:xfrm>
            <a:off x="3032212" y="4978880"/>
            <a:ext cx="2394275" cy="1119180"/>
          </a:xfrm>
          <a:prstGeom prst="rect">
            <a:avLst/>
          </a:prstGeom>
        </p:spPr>
      </p:pic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0F2DC93A-58AC-43A8-BA50-75D34611717C}"/>
              </a:ext>
            </a:extLst>
          </p:cNvPr>
          <p:cNvGraphicFramePr>
            <a:graphicFrameLocks noGrp="1"/>
          </p:cNvGraphicFramePr>
          <p:nvPr/>
        </p:nvGraphicFramePr>
        <p:xfrm>
          <a:off x="5093050" y="2060848"/>
          <a:ext cx="2772268" cy="116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0641">
                  <a:extLst>
                    <a:ext uri="{9D8B030D-6E8A-4147-A177-3AD203B41FA5}">
                      <a16:colId xmlns:a16="http://schemas.microsoft.com/office/drawing/2014/main" val="1801352779"/>
                    </a:ext>
                  </a:extLst>
                </a:gridCol>
                <a:gridCol w="1131627">
                  <a:extLst>
                    <a:ext uri="{9D8B030D-6E8A-4147-A177-3AD203B41FA5}">
                      <a16:colId xmlns:a16="http://schemas.microsoft.com/office/drawing/2014/main" val="232780794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n-CA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stomer </a:t>
                      </a:r>
                      <a:endParaRPr lang="en-CA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442559"/>
                  </a:ext>
                </a:extLst>
              </a:tr>
              <a:tr h="374950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entified By Direct Deposit Account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count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6074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rees to Use Payment Product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yment Product Agreement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649089"/>
                  </a:ext>
                </a:extLst>
              </a:tr>
            </a:tbl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8FF13A93-BB0B-4C0F-B6E1-20429254736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-5680"/>
            <a:ext cx="9144000" cy="68580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00A6794-D620-42C5-B1B2-9343E5D4DB3A}"/>
              </a:ext>
            </a:extLst>
          </p:cNvPr>
          <p:cNvSpPr txBox="1"/>
          <p:nvPr/>
        </p:nvSpPr>
        <p:spPr>
          <a:xfrm>
            <a:off x="0" y="-5680"/>
            <a:ext cx="91440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nswers to these questions can be captured in a Domain Model, using CRC notatio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2F0B561-9D26-4890-BAF7-420FEEFE7D0F}"/>
              </a:ext>
            </a:extLst>
          </p:cNvPr>
          <p:cNvSpPr/>
          <p:nvPr/>
        </p:nvSpPr>
        <p:spPr bwMode="auto">
          <a:xfrm>
            <a:off x="2771800" y="4365104"/>
            <a:ext cx="2376264" cy="2592288"/>
          </a:xfrm>
          <a:prstGeom prst="round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A1DE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7161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EF469C5-2293-41EE-99BC-F0864F273BE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97609CC-52E1-4CF0-BE76-AD83C21870D7}"/>
              </a:ext>
            </a:extLst>
          </p:cNvPr>
          <p:cNvSpPr txBox="1"/>
          <p:nvPr/>
        </p:nvSpPr>
        <p:spPr>
          <a:xfrm>
            <a:off x="0" y="-5680"/>
            <a:ext cx="91440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nswers to these questions can be captured in a Domain Model, using CRC nota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881C2D7-BA61-4EA7-9081-E318135B33D0}"/>
              </a:ext>
            </a:extLst>
          </p:cNvPr>
          <p:cNvSpPr/>
          <p:nvPr/>
        </p:nvSpPr>
        <p:spPr bwMode="auto">
          <a:xfrm>
            <a:off x="755576" y="3717032"/>
            <a:ext cx="3384376" cy="3096344"/>
          </a:xfrm>
          <a:prstGeom prst="round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A1DE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36386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E99A6C0-CE28-4104-84A0-27F0713E6C3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DFB8512-9320-41E4-B664-B60EA3FF939A}"/>
              </a:ext>
            </a:extLst>
          </p:cNvPr>
          <p:cNvSpPr txBox="1"/>
          <p:nvPr/>
        </p:nvSpPr>
        <p:spPr>
          <a:xfrm>
            <a:off x="0" y="-27384"/>
            <a:ext cx="91440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nswers to these questions can be captured in a Domain Model, using CRC notatio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C9A2FF4-3037-402E-8CD6-F842E2C93896}"/>
              </a:ext>
            </a:extLst>
          </p:cNvPr>
          <p:cNvSpPr/>
          <p:nvPr/>
        </p:nvSpPr>
        <p:spPr bwMode="auto">
          <a:xfrm>
            <a:off x="4788024" y="3573016"/>
            <a:ext cx="2952328" cy="3240360"/>
          </a:xfrm>
          <a:prstGeom prst="round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A1DE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64059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FC25363-EB68-46A2-AB99-AA1333C512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1D2F0BE-66AE-4B12-B752-D6A7B4C09CE2}"/>
              </a:ext>
            </a:extLst>
          </p:cNvPr>
          <p:cNvSpPr txBox="1"/>
          <p:nvPr/>
        </p:nvSpPr>
        <p:spPr>
          <a:xfrm>
            <a:off x="-1344" y="-27384"/>
            <a:ext cx="9144000" cy="12961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 good Domain Model dramatically increases the pace of story discovery and exploration, domain concepts are captured in one place as understanding increases 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1F66208-4375-4A51-83F9-997B4DF6CFD6}"/>
              </a:ext>
            </a:extLst>
          </p:cNvPr>
          <p:cNvSpPr/>
          <p:nvPr/>
        </p:nvSpPr>
        <p:spPr bwMode="auto">
          <a:xfrm>
            <a:off x="251520" y="3717032"/>
            <a:ext cx="7848872" cy="3096344"/>
          </a:xfrm>
          <a:prstGeom prst="round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A1DE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55828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55A3CF-EEA6-4570-80D3-5421DB8769C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5F968D7-26FD-465A-9975-E0AF57BEBF13}"/>
              </a:ext>
            </a:extLst>
          </p:cNvPr>
          <p:cNvSpPr txBox="1"/>
          <p:nvPr/>
        </p:nvSpPr>
        <p:spPr>
          <a:xfrm>
            <a:off x="-1344" y="-27384"/>
            <a:ext cx="9144000" cy="12961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Language is as (or more) important the diagram. Practice walking the model, describing each piece, this builds the common vocabulary being used by the team</a:t>
            </a:r>
          </a:p>
        </p:txBody>
      </p:sp>
    </p:spTree>
    <p:extLst>
      <p:ext uri="{BB962C8B-B14F-4D97-AF65-F5344CB8AC3E}">
        <p14:creationId xmlns:p14="http://schemas.microsoft.com/office/powerpoint/2010/main" val="40181390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5162E6-2BC2-4455-BD84-2A9EB29DC98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ACD6B00-7C11-4938-B25B-8621FEEA2DA7}"/>
              </a:ext>
            </a:extLst>
          </p:cNvPr>
          <p:cNvSpPr txBox="1"/>
          <p:nvPr/>
        </p:nvSpPr>
        <p:spPr>
          <a:xfrm>
            <a:off x="0" y="5301208"/>
            <a:ext cx="9144000" cy="155679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Language is as (or more) important the diagram. Practice walking the model, describing each piece, this builds the common vocabulary being used by the team</a:t>
            </a:r>
          </a:p>
        </p:txBody>
      </p:sp>
    </p:spTree>
    <p:extLst>
      <p:ext uri="{BB962C8B-B14F-4D97-AF65-F5344CB8AC3E}">
        <p14:creationId xmlns:p14="http://schemas.microsoft.com/office/powerpoint/2010/main" val="12463765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376B6B-164C-44A6-80EE-439FB6311E9C}"/>
              </a:ext>
            </a:extLst>
          </p:cNvPr>
          <p:cNvSpPr/>
          <p:nvPr/>
        </p:nvSpPr>
        <p:spPr>
          <a:xfrm>
            <a:off x="323528" y="1628800"/>
            <a:ext cx="804965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ilding a domain accelerates story mapping,  acceptance criteria, and Spec by exampl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re is a steep learning curve, and the initial complexity can / will put people off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t scales! Most of the work happens during the first few stories in an epic, covering additional stories become progressively easier and easi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or developers, it can feel like coding with stickie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33D2887-D68A-406C-9437-3844A42C9011}"/>
              </a:ext>
            </a:extLst>
          </p:cNvPr>
          <p:cNvSpPr txBox="1">
            <a:spLocks/>
          </p:cNvSpPr>
          <p:nvPr/>
        </p:nvSpPr>
        <p:spPr>
          <a:xfrm>
            <a:off x="179512" y="188640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Coaching Thoughts</a:t>
            </a:r>
            <a:endParaRPr kumimoji="0" lang="en-US" sz="1412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64112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376B6B-164C-44A6-80EE-439FB6311E9C}"/>
              </a:ext>
            </a:extLst>
          </p:cNvPr>
          <p:cNvSpPr/>
          <p:nvPr/>
        </p:nvSpPr>
        <p:spPr>
          <a:xfrm>
            <a:off x="611560" y="2636912"/>
            <a:ext cx="804965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utline a Story Map that captures some aspect of a project you are part of,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eep it brief focus on the major epics, listing perhaps a few stori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apture any questions you have regarding the business domain, </a:t>
            </a:r>
            <a:r>
              <a:rPr kumimoji="0" lang="en-CA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e</a:t>
            </a:r>
            <a:r>
              <a:rPr kumimoji="0" lang="en-CA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business concepts, state, rules, logic or data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33D2887-D68A-406C-9437-3844A42C9011}"/>
              </a:ext>
            </a:extLst>
          </p:cNvPr>
          <p:cNvSpPr txBox="1">
            <a:spLocks/>
          </p:cNvSpPr>
          <p:nvPr/>
        </p:nvSpPr>
        <p:spPr>
          <a:xfrm>
            <a:off x="395536" y="2132856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Exercise: Story Map and Domain Questions</a:t>
            </a:r>
            <a:endParaRPr kumimoji="0" lang="en-US" sz="1412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8283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A" dirty="0"/>
              <a:t>CRC components 101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477250" y="6605868"/>
            <a:ext cx="532279" cy="163886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18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23110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3329D99-7FCB-4B8B-BC54-38CD463C2D4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87875-A409-4D4F-BD0C-084F2F29A1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4B4472-A98D-4867-A850-DC019789AC36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8CEEEE-E159-4059-84F1-71D58EA0DA8E}"/>
              </a:ext>
            </a:extLst>
          </p:cNvPr>
          <p:cNvSpPr txBox="1"/>
          <p:nvPr/>
        </p:nvSpPr>
        <p:spPr>
          <a:xfrm>
            <a:off x="-7427" y="0"/>
            <a:ext cx="9144000" cy="155679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Each discrete part of the domain is captured as a Class </a:t>
            </a:r>
          </a:p>
        </p:txBody>
      </p:sp>
    </p:spTree>
    <p:extLst>
      <p:ext uri="{BB962C8B-B14F-4D97-AF65-F5344CB8AC3E}">
        <p14:creationId xmlns:p14="http://schemas.microsoft.com/office/powerpoint/2010/main" val="34629666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4"/>
          <p:cNvSpPr>
            <a:spLocks noGrp="1"/>
          </p:cNvSpPr>
          <p:nvPr>
            <p:ph type="ctrTitle" idx="4294967295"/>
          </p:nvPr>
        </p:nvSpPr>
        <p:spPr>
          <a:xfrm>
            <a:off x="470647" y="3104191"/>
            <a:ext cx="8165054" cy="459280"/>
          </a:xfrm>
        </p:spPr>
        <p:txBody>
          <a:bodyPr>
            <a:normAutofit fontScale="90000"/>
          </a:bodyPr>
          <a:lstStyle/>
          <a:p>
            <a:r>
              <a:rPr lang="en-CA" sz="3177" dirty="0">
                <a:latin typeface="Calibri" panose="020F0502020204030204" pitchFamily="34" charset="0"/>
              </a:rPr>
              <a:t>Domain Modeling With Class Responsibility Cards and Domain Driven Desig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5638" y="67236"/>
            <a:ext cx="3763892" cy="27664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471" y="3658692"/>
            <a:ext cx="3167085" cy="319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4265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5A9FD5A-8AC2-46E8-9D42-9312EF0662B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87875-A409-4D4F-BD0C-084F2F29A1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4B4472-A98D-4867-A850-DC019789AC36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8CEEEE-E159-4059-84F1-71D58EA0DA8E}"/>
              </a:ext>
            </a:extLst>
          </p:cNvPr>
          <p:cNvSpPr txBox="1"/>
          <p:nvPr/>
        </p:nvSpPr>
        <p:spPr>
          <a:xfrm>
            <a:off x="-3592" y="5301209"/>
            <a:ext cx="9144000" cy="155679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Responsibilities are added to classes, and define the behaviour and data of that class</a:t>
            </a:r>
          </a:p>
        </p:txBody>
      </p:sp>
    </p:spTree>
    <p:extLst>
      <p:ext uri="{BB962C8B-B14F-4D97-AF65-F5344CB8AC3E}">
        <p14:creationId xmlns:p14="http://schemas.microsoft.com/office/powerpoint/2010/main" val="25260144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C593FDC-A908-4968-86F7-9A538BC37FA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87875-A409-4D4F-BD0C-084F2F29A1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4B4472-A98D-4867-A850-DC019789AC36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8CEEEE-E159-4059-84F1-71D58EA0DA8E}"/>
              </a:ext>
            </a:extLst>
          </p:cNvPr>
          <p:cNvSpPr txBox="1"/>
          <p:nvPr/>
        </p:nvSpPr>
        <p:spPr>
          <a:xfrm>
            <a:off x="-3592" y="5301209"/>
            <a:ext cx="9144000" cy="155679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Collaborators define the other classed that participate to fulfill a specific responsibility</a:t>
            </a:r>
          </a:p>
        </p:txBody>
      </p:sp>
    </p:spTree>
    <p:extLst>
      <p:ext uri="{BB962C8B-B14F-4D97-AF65-F5344CB8AC3E}">
        <p14:creationId xmlns:p14="http://schemas.microsoft.com/office/powerpoint/2010/main" val="1821906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07D52C6-2420-4CF3-9911-3F9F1684931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87875-A409-4D4F-BD0C-084F2F29A1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4B4472-A98D-4867-A850-DC019789AC36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8CEEEE-E159-4059-84F1-71D58EA0DA8E}"/>
              </a:ext>
            </a:extLst>
          </p:cNvPr>
          <p:cNvSpPr txBox="1"/>
          <p:nvPr/>
        </p:nvSpPr>
        <p:spPr>
          <a:xfrm>
            <a:off x="-3592" y="5301209"/>
            <a:ext cx="9144000" cy="155679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Object oriented notation can be used to further define the relationships between various classes</a:t>
            </a:r>
          </a:p>
        </p:txBody>
      </p:sp>
    </p:spTree>
    <p:extLst>
      <p:ext uri="{BB962C8B-B14F-4D97-AF65-F5344CB8AC3E}">
        <p14:creationId xmlns:p14="http://schemas.microsoft.com/office/powerpoint/2010/main" val="8175932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5162E6-2BC2-4455-BD84-2A9EB29DC98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ACD6B00-7C11-4938-B25B-8621FEEA2DA7}"/>
              </a:ext>
            </a:extLst>
          </p:cNvPr>
          <p:cNvSpPr txBox="1"/>
          <p:nvPr/>
        </p:nvSpPr>
        <p:spPr>
          <a:xfrm>
            <a:off x="0" y="5301208"/>
            <a:ext cx="9144000" cy="155679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Putting it together, a precise and concise way to describe how business logic works, in a format that can be easily translated to the actual solution</a:t>
            </a:r>
          </a:p>
        </p:txBody>
      </p:sp>
    </p:spTree>
    <p:extLst>
      <p:ext uri="{BB962C8B-B14F-4D97-AF65-F5344CB8AC3E}">
        <p14:creationId xmlns:p14="http://schemas.microsoft.com/office/powerpoint/2010/main" val="4650301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780C410-163F-464D-A11E-EAE4DA6056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2CB4319-3247-4D34-9344-F346C60A1AAB}"/>
              </a:ext>
            </a:extLst>
          </p:cNvPr>
          <p:cNvSpPr txBox="1"/>
          <p:nvPr/>
        </p:nvSpPr>
        <p:spPr>
          <a:xfrm>
            <a:off x="8581" y="-27384"/>
            <a:ext cx="9144000" cy="223224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Putting it together, a precise and concise way to describe how business logic works, in a format that can be easily translated to the actual solution</a:t>
            </a:r>
          </a:p>
        </p:txBody>
      </p:sp>
    </p:spTree>
    <p:extLst>
      <p:ext uri="{BB962C8B-B14F-4D97-AF65-F5344CB8AC3E}">
        <p14:creationId xmlns:p14="http://schemas.microsoft.com/office/powerpoint/2010/main" val="31909934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67544" y="2709129"/>
            <a:ext cx="8280920" cy="1367943"/>
          </a:xfrm>
        </p:spPr>
        <p:txBody>
          <a:bodyPr/>
          <a:lstStyle/>
          <a:p>
            <a:r>
              <a:rPr lang="en-CA" dirty="0"/>
              <a:t>Domain Modelling throughout the agile lifecycle</a:t>
            </a:r>
          </a:p>
        </p:txBody>
      </p:sp>
    </p:spTree>
    <p:extLst>
      <p:ext uri="{BB962C8B-B14F-4D97-AF65-F5344CB8AC3E}">
        <p14:creationId xmlns:p14="http://schemas.microsoft.com/office/powerpoint/2010/main" val="29884371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376B6B-164C-44A6-80EE-439FB6311E9C}"/>
              </a:ext>
            </a:extLst>
          </p:cNvPr>
          <p:cNvSpPr/>
          <p:nvPr/>
        </p:nvSpPr>
        <p:spPr>
          <a:xfrm>
            <a:off x="694506" y="1628800"/>
            <a:ext cx="806489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art by modelling functional behaviour (story map, acceptance criteria, spec by example, etc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domain related question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hat do you mean by </a:t>
            </a: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X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xplain the difference between an </a:t>
            </a: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X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and a </a:t>
            </a: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scribe all the different types of </a:t>
            </a:r>
            <a:r>
              <a:rPr kumimoji="0" lang="en-US" alt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X</a:t>
            </a:r>
            <a:r>
              <a:rPr kumimoji="0" lang="en-US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hat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happens When </a:t>
            </a: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X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oes </a:t>
            </a: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hat the F&amp;@@!&amp; is an </a:t>
            </a: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X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gain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phrase the answer in the domain model format (ah ha! So an X is for/does/behaves like….)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pdate your model to capture the insigh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pdate your stories as necessar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use every so often and walk the mod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33D2887-D68A-406C-9437-3844A42C9011}"/>
              </a:ext>
            </a:extLst>
          </p:cNvPr>
          <p:cNvSpPr txBox="1">
            <a:spLocks/>
          </p:cNvSpPr>
          <p:nvPr/>
        </p:nvSpPr>
        <p:spPr>
          <a:xfrm>
            <a:off x="380999" y="181497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Flesh out your domain model in parallel with story exploration</a:t>
            </a:r>
            <a:endParaRPr kumimoji="0" lang="en-US" sz="1412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2071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FB6F6-8628-4A7A-BCF9-89C7D4344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87875-A409-4D4F-BD0C-084F2F29A1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4B4472-A98D-4867-A850-DC019789AC36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44DD48-8585-4EBE-80D5-EA6CF1F0692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1122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376B6B-164C-44A6-80EE-439FB6311E9C}"/>
              </a:ext>
            </a:extLst>
          </p:cNvPr>
          <p:cNvSpPr/>
          <p:nvPr/>
        </p:nvSpPr>
        <p:spPr>
          <a:xfrm>
            <a:off x="611560" y="2636912"/>
            <a:ext cx="804965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alk through your story map and build out an initial domain mode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on’t worry about being complete or precise, focus on major concepts and responsibilitie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33D2887-D68A-406C-9437-3844A42C9011}"/>
              </a:ext>
            </a:extLst>
          </p:cNvPr>
          <p:cNvSpPr txBox="1">
            <a:spLocks/>
          </p:cNvSpPr>
          <p:nvPr/>
        </p:nvSpPr>
        <p:spPr>
          <a:xfrm>
            <a:off x="395536" y="2132856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Exercise: Outline your Domain Model</a:t>
            </a:r>
            <a:endParaRPr kumimoji="0" lang="en-US" sz="1412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15863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FB6F6-8628-4A7A-BCF9-89C7D4344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87875-A409-4D4F-BD0C-084F2F29A1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4B4472-A98D-4867-A850-DC019789AC36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4C0FAF-4923-43DC-B117-DEF872A46C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7156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A7FB3FBF-DAE7-448E-A687-E47CE83A3F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840" y="1484784"/>
            <a:ext cx="4792200" cy="3384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0F596FA-032C-4270-B976-DC82C01EEF5E}"/>
              </a:ext>
            </a:extLst>
          </p:cNvPr>
          <p:cNvSpPr txBox="1"/>
          <p:nvPr/>
        </p:nvSpPr>
        <p:spPr>
          <a:xfrm>
            <a:off x="1416740" y="2833670"/>
            <a:ext cx="1702007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4384676" y="6605978"/>
            <a:ext cx="548640" cy="163122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solidFill>
                  <a:srgbClr val="002776"/>
                </a:solidFill>
                <a:cs typeface="Arial" pitchFamily="34" charset="0"/>
              </a:rPr>
              <a:t>The number one reason for failure of software projects is a failure of people to communicate</a:t>
            </a:r>
            <a:endParaRPr lang="en-US" sz="1412" b="0" dirty="0">
              <a:cs typeface="Arial" charset="0"/>
            </a:endParaRPr>
          </a:p>
        </p:txBody>
      </p:sp>
      <p:sp>
        <p:nvSpPr>
          <p:cNvPr id="5126" name="TextBox 10"/>
          <p:cNvSpPr txBox="1">
            <a:spLocks noChangeArrowheads="1"/>
          </p:cNvSpPr>
          <p:nvPr/>
        </p:nvSpPr>
        <p:spPr bwMode="auto">
          <a:xfrm>
            <a:off x="4932040" y="1268760"/>
            <a:ext cx="4104456" cy="46085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44917" tIns="0" rIns="44917" bIns="0" anchor="ctr"/>
          <a:lstStyle/>
          <a:p>
            <a:pPr marL="116976" marR="0" lvl="1" indent="-116976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Language wall between clients and developers)</a:t>
            </a:r>
          </a:p>
          <a:p>
            <a:pPr marL="116976" marR="0" lvl="1" indent="-116976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Domain Models are a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Ubiquitous Language,</a:t>
            </a:r>
          </a:p>
          <a:p>
            <a:pPr marL="116976" marR="0" lvl="1" indent="-116976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tight collaboration from both business and delivery teams</a:t>
            </a:r>
          </a:p>
          <a:p>
            <a:pPr marL="116976" marR="0" lvl="1" indent="-116976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drawn in the language of the business</a:t>
            </a:r>
          </a:p>
          <a:p>
            <a:pPr marL="116976" marR="0" lvl="1" indent="-116976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 constrained by technology, using technical structure</a:t>
            </a:r>
          </a:p>
          <a:p>
            <a:pPr marL="0" marR="0" lvl="1" indent="0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One model for the code, the diagrams, and the language people use!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6C193F-D602-4EDB-80A4-A8432E701B62}"/>
              </a:ext>
            </a:extLst>
          </p:cNvPr>
          <p:cNvSpPr txBox="1"/>
          <p:nvPr/>
        </p:nvSpPr>
        <p:spPr>
          <a:xfrm>
            <a:off x="1681669" y="2402978"/>
            <a:ext cx="128449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siness terms, concepts, </a:t>
            </a:r>
            <a:r>
              <a:rPr kumimoji="0" lang="en-CA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c</a:t>
            </a: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used by solu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D3C263-0652-47F0-9D7C-294C890192B5}"/>
              </a:ext>
            </a:extLst>
          </p:cNvPr>
          <p:cNvSpPr/>
          <p:nvPr/>
        </p:nvSpPr>
        <p:spPr>
          <a:xfrm>
            <a:off x="1475656" y="2852936"/>
            <a:ext cx="15841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siness Logic layer of solu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5E15EA-1441-45B1-B5C0-723B538BE079}"/>
              </a:ext>
            </a:extLst>
          </p:cNvPr>
          <p:cNvSpPr txBox="1"/>
          <p:nvPr/>
        </p:nvSpPr>
        <p:spPr>
          <a:xfrm>
            <a:off x="1409970" y="3201431"/>
            <a:ext cx="1835318" cy="19720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E2543DB-9A77-43E9-B907-32D20B814FD2}"/>
              </a:ext>
            </a:extLst>
          </p:cNvPr>
          <p:cNvSpPr txBox="1"/>
          <p:nvPr/>
        </p:nvSpPr>
        <p:spPr>
          <a:xfrm>
            <a:off x="1526798" y="2902208"/>
            <a:ext cx="1702007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6027B37-7CF1-41C9-8860-E518F492ED42}"/>
              </a:ext>
            </a:extLst>
          </p:cNvPr>
          <p:cNvSpPr txBox="1"/>
          <p:nvPr/>
        </p:nvSpPr>
        <p:spPr>
          <a:xfrm>
            <a:off x="1664983" y="2868570"/>
            <a:ext cx="144016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siness logic layer of solu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DD78672-4856-4526-A91C-1CBE003F1640}"/>
              </a:ext>
            </a:extLst>
          </p:cNvPr>
          <p:cNvSpPr/>
          <p:nvPr/>
        </p:nvSpPr>
        <p:spPr>
          <a:xfrm>
            <a:off x="1655384" y="3312705"/>
            <a:ext cx="1353526" cy="4956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usiness aspects of all layers of the solution (UI, DB, </a:t>
            </a:r>
            <a:r>
              <a:rPr kumimoji="0" lang="en-CA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c</a:t>
            </a: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35F76A2-00D9-461B-B7BE-7859650C060F}"/>
              </a:ext>
            </a:extLst>
          </p:cNvPr>
          <p:cNvSpPr/>
          <p:nvPr/>
        </p:nvSpPr>
        <p:spPr>
          <a:xfrm>
            <a:off x="3315557" y="2493693"/>
            <a:ext cx="968411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siness terms not part of the scope of the sol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251CFC7-6785-4DEF-8BD8-E426B58BAE48}"/>
              </a:ext>
            </a:extLst>
          </p:cNvPr>
          <p:cNvSpPr/>
          <p:nvPr/>
        </p:nvSpPr>
        <p:spPr>
          <a:xfrm>
            <a:off x="3341190" y="3160990"/>
            <a:ext cx="1080120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siness terms part of the of the solution, that are not explicit in the solution</a:t>
            </a:r>
          </a:p>
        </p:txBody>
      </p:sp>
    </p:spTree>
    <p:extLst>
      <p:ext uri="{BB962C8B-B14F-4D97-AF65-F5344CB8AC3E}">
        <p14:creationId xmlns:p14="http://schemas.microsoft.com/office/powerpoint/2010/main" val="14911927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016261-EA0D-4F17-87CD-09182A12E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4B4472-A98D-4867-A850-DC019789AC36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BF5A02-81B9-4344-845A-5485169F7A2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52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376B6B-164C-44A6-80EE-439FB6311E9C}"/>
              </a:ext>
            </a:extLst>
          </p:cNvPr>
          <p:cNvSpPr/>
          <p:nvPr/>
        </p:nvSpPr>
        <p:spPr>
          <a:xfrm>
            <a:off x="611560" y="2636912"/>
            <a:ext cx="804965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fine your story map to a greater leve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dd details around some key functions and stories, try to tack each major domain area in par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fine the domain model to answer domain questions across each story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33D2887-D68A-406C-9437-3844A42C9011}"/>
              </a:ext>
            </a:extLst>
          </p:cNvPr>
          <p:cNvSpPr txBox="1">
            <a:spLocks/>
          </p:cNvSpPr>
          <p:nvPr/>
        </p:nvSpPr>
        <p:spPr>
          <a:xfrm>
            <a:off x="395536" y="2132856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Exercise: Flesh out your Domain Model</a:t>
            </a:r>
            <a:endParaRPr kumimoji="0" lang="en-US" sz="1412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8147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016261-EA0D-4F17-87CD-09182A12E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4B4472-A98D-4867-A850-DC019789AC36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106964-7D8B-4000-BDA6-AF055D394E3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7ABCE32-ACD0-4DAB-A042-4516C25554FE}"/>
              </a:ext>
            </a:extLst>
          </p:cNvPr>
          <p:cNvSpPr txBox="1"/>
          <p:nvPr/>
        </p:nvSpPr>
        <p:spPr>
          <a:xfrm>
            <a:off x="0" y="5877272"/>
            <a:ext cx="9144000" cy="98072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Validate the domain model by walking through individual stories, tracing the connections and collaborators in the map to see if there is a missing concept</a:t>
            </a:r>
          </a:p>
        </p:txBody>
      </p:sp>
    </p:spTree>
    <p:extLst>
      <p:ext uri="{BB962C8B-B14F-4D97-AF65-F5344CB8AC3E}">
        <p14:creationId xmlns:p14="http://schemas.microsoft.com/office/powerpoint/2010/main" val="11936281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1992D8-8F67-472D-A110-B164BB1A6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A14C72-EE33-47E9-9A1F-3F780F5C5E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4B4472-A98D-4867-A850-DC019789AC36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5EEE071F-DEC1-4E1E-912F-3A63EB5BA5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71308" y="-27385"/>
            <a:ext cx="9215308" cy="6911481"/>
          </a:xfr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462525E-BDFD-4CE3-B1A3-2355F571F03D}"/>
              </a:ext>
            </a:extLst>
          </p:cNvPr>
          <p:cNvSpPr txBox="1"/>
          <p:nvPr/>
        </p:nvSpPr>
        <p:spPr>
          <a:xfrm>
            <a:off x="3995936" y="3501008"/>
            <a:ext cx="4139952" cy="20882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Can the class take a crack at walking the domain model using this story? Does it reveal any missing pieces in the model?</a:t>
            </a:r>
          </a:p>
        </p:txBody>
      </p:sp>
    </p:spTree>
    <p:extLst>
      <p:ext uri="{BB962C8B-B14F-4D97-AF65-F5344CB8AC3E}">
        <p14:creationId xmlns:p14="http://schemas.microsoft.com/office/powerpoint/2010/main" val="18434254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376B6B-164C-44A6-80EE-439FB6311E9C}"/>
              </a:ext>
            </a:extLst>
          </p:cNvPr>
          <p:cNvSpPr/>
          <p:nvPr/>
        </p:nvSpPr>
        <p:spPr>
          <a:xfrm>
            <a:off x="611560" y="2636912"/>
            <a:ext cx="804965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ake a set of stories and walk the model to validate the model is complet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ake note of missing sections and update your model as necessar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fine the domain model to answer domain questions across each stor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sent the model to the clas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33D2887-D68A-406C-9437-3844A42C9011}"/>
              </a:ext>
            </a:extLst>
          </p:cNvPr>
          <p:cNvSpPr txBox="1">
            <a:spLocks/>
          </p:cNvSpPr>
          <p:nvPr/>
        </p:nvSpPr>
        <p:spPr>
          <a:xfrm>
            <a:off x="395536" y="2132856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Exercise: Validate your domain model through walkthroughs</a:t>
            </a:r>
            <a:endParaRPr kumimoji="0" lang="en-US" sz="1412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23990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33D2887-D68A-406C-9437-3844A42C9011}"/>
              </a:ext>
            </a:extLst>
          </p:cNvPr>
          <p:cNvSpPr txBox="1">
            <a:spLocks/>
          </p:cNvSpPr>
          <p:nvPr/>
        </p:nvSpPr>
        <p:spPr>
          <a:xfrm>
            <a:off x="179512" y="1857896"/>
            <a:ext cx="4608512" cy="38164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pply For a Payment Product Agreemen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Story Acceptance Criteria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The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Custom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 must provide a valid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DDA Accoun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that the Customer own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The Customer may apply for one or more Payment Products, each application results in a separate Payment Product Agreem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Each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p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The Customer must specify an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Own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, providing the necessary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Contact Details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050" b="0" i="1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DDD315C-7E36-4D05-BE86-B15907B288A8}"/>
              </a:ext>
            </a:extLst>
          </p:cNvPr>
          <p:cNvSpPr/>
          <p:nvPr/>
        </p:nvSpPr>
        <p:spPr bwMode="auto">
          <a:xfrm>
            <a:off x="395536" y="993800"/>
            <a:ext cx="1080120" cy="576064"/>
          </a:xfrm>
          <a:prstGeom prst="rect">
            <a:avLst/>
          </a:prstGeom>
          <a:noFill/>
          <a:ln w="6350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A1DE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FDA6AA0-7580-4411-939C-4E9B40ADA5E0}"/>
              </a:ext>
            </a:extLst>
          </p:cNvPr>
          <p:cNvSpPr/>
          <p:nvPr/>
        </p:nvSpPr>
        <p:spPr bwMode="auto">
          <a:xfrm>
            <a:off x="1547664" y="993800"/>
            <a:ext cx="1080120" cy="576064"/>
          </a:xfrm>
          <a:prstGeom prst="rect">
            <a:avLst/>
          </a:prstGeom>
          <a:noFill/>
          <a:ln w="6350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A1DE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B7895C-287F-480E-8A72-A15B3AA52EB3}"/>
              </a:ext>
            </a:extLst>
          </p:cNvPr>
          <p:cNvSpPr/>
          <p:nvPr/>
        </p:nvSpPr>
        <p:spPr bwMode="auto">
          <a:xfrm>
            <a:off x="2699792" y="99380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A1DE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06EA54B-42A1-469E-BB6C-C20CEE52EBB0}"/>
              </a:ext>
            </a:extLst>
          </p:cNvPr>
          <p:cNvGraphicFramePr>
            <a:graphicFrameLocks noGrp="1"/>
          </p:cNvGraphicFramePr>
          <p:nvPr/>
        </p:nvGraphicFramePr>
        <p:xfrm>
          <a:off x="5093050" y="2060848"/>
          <a:ext cx="2772268" cy="116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0641">
                  <a:extLst>
                    <a:ext uri="{9D8B030D-6E8A-4147-A177-3AD203B41FA5}">
                      <a16:colId xmlns:a16="http://schemas.microsoft.com/office/drawing/2014/main" val="1801352779"/>
                    </a:ext>
                  </a:extLst>
                </a:gridCol>
                <a:gridCol w="1131627">
                  <a:extLst>
                    <a:ext uri="{9D8B030D-6E8A-4147-A177-3AD203B41FA5}">
                      <a16:colId xmlns:a16="http://schemas.microsoft.com/office/drawing/2014/main" val="232780794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n-CA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stomer </a:t>
                      </a:r>
                      <a:endParaRPr lang="en-CA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442559"/>
                  </a:ext>
                </a:extLst>
              </a:tr>
              <a:tr h="374950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entified By Direct Deposit Account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count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6074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rees to Use Payment Product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yment Product Agreement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649089"/>
                  </a:ext>
                </a:extLst>
              </a:tr>
            </a:tbl>
          </a:graphicData>
        </a:graphic>
      </p:graphicFrame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46211AFE-5E3D-48DC-AA0B-F9D76AA4CEAE}"/>
              </a:ext>
            </a:extLst>
          </p:cNvPr>
          <p:cNvGraphicFramePr>
            <a:graphicFrameLocks noGrp="1"/>
          </p:cNvGraphicFramePr>
          <p:nvPr/>
        </p:nvGraphicFramePr>
        <p:xfrm>
          <a:off x="5076056" y="3286698"/>
          <a:ext cx="2772268" cy="12944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0641">
                  <a:extLst>
                    <a:ext uri="{9D8B030D-6E8A-4147-A177-3AD203B41FA5}">
                      <a16:colId xmlns:a16="http://schemas.microsoft.com/office/drawing/2014/main" val="1801352779"/>
                    </a:ext>
                  </a:extLst>
                </a:gridCol>
                <a:gridCol w="1131627">
                  <a:extLst>
                    <a:ext uri="{9D8B030D-6E8A-4147-A177-3AD203B41FA5}">
                      <a16:colId xmlns:a16="http://schemas.microsoft.com/office/drawing/2014/main" val="232780794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n-CA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duct PMT Agreement </a:t>
                      </a:r>
                      <a:endParaRPr lang="en-CA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442559"/>
                  </a:ext>
                </a:extLst>
              </a:tr>
              <a:tr h="374950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reed To By A Custome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stome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6074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 Use Products</a:t>
                      </a:r>
                    </a:p>
                    <a:p>
                      <a:endParaRPr lang="en-CA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 Owned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yment Product</a:t>
                      </a:r>
                    </a:p>
                    <a:p>
                      <a:endParaRPr lang="en-CA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wne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649089"/>
                  </a:ext>
                </a:extLst>
              </a:tr>
            </a:tbl>
          </a:graphicData>
        </a:graphic>
      </p:graphicFrame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3F27AEBA-2B64-408C-B34B-5AEC7017A108}"/>
              </a:ext>
            </a:extLst>
          </p:cNvPr>
          <p:cNvGraphicFramePr>
            <a:graphicFrameLocks noGrp="1"/>
          </p:cNvGraphicFramePr>
          <p:nvPr/>
        </p:nvGraphicFramePr>
        <p:xfrm>
          <a:off x="5099050" y="4653136"/>
          <a:ext cx="2749274" cy="17307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7033">
                  <a:extLst>
                    <a:ext uri="{9D8B030D-6E8A-4147-A177-3AD203B41FA5}">
                      <a16:colId xmlns:a16="http://schemas.microsoft.com/office/drawing/2014/main" val="1801352779"/>
                    </a:ext>
                  </a:extLst>
                </a:gridCol>
                <a:gridCol w="1122241">
                  <a:extLst>
                    <a:ext uri="{9D8B030D-6E8A-4147-A177-3AD203B41FA5}">
                      <a16:colId xmlns:a16="http://schemas.microsoft.com/office/drawing/2014/main" val="232780794"/>
                    </a:ext>
                  </a:extLst>
                </a:gridCol>
              </a:tblGrid>
              <a:tr h="355212">
                <a:tc gridSpan="2">
                  <a:txBody>
                    <a:bodyPr/>
                    <a:lstStyle/>
                    <a:p>
                      <a:r>
                        <a:rPr lang="en-CA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wner</a:t>
                      </a:r>
                      <a:endParaRPr lang="en-CA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442559"/>
                  </a:ext>
                </a:extLst>
              </a:tr>
              <a:tr h="359149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acted Using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act Details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6074966"/>
                  </a:ext>
                </a:extLst>
              </a:tr>
              <a:tr h="963453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 A Role</a:t>
                      </a:r>
                    </a:p>
                    <a:p>
                      <a:endParaRPr lang="en-CA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en-CA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wns Agreements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yment Role = Owner</a:t>
                      </a:r>
                    </a:p>
                    <a:p>
                      <a:pPr marL="0" marR="0" lvl="0" indent="0" algn="l" defTabSz="9138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A" sz="10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38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duct PMT Agreement </a:t>
                      </a:r>
                      <a:endParaRPr lang="en-CA" sz="10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en-CA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649089"/>
                  </a:ext>
                </a:extLst>
              </a:tr>
            </a:tbl>
          </a:graphicData>
        </a:graphic>
      </p:graphicFrame>
      <p:sp>
        <p:nvSpPr>
          <p:cNvPr id="46" name="Title 1">
            <a:extLst>
              <a:ext uri="{FF2B5EF4-FFF2-40B4-BE49-F238E27FC236}">
                <a16:creationId xmlns:a16="http://schemas.microsoft.com/office/drawing/2014/main" id="{E5B98FB5-5667-474C-9756-B38B2255FF23}"/>
              </a:ext>
            </a:extLst>
          </p:cNvPr>
          <p:cNvSpPr txBox="1">
            <a:spLocks/>
          </p:cNvSpPr>
          <p:nvPr/>
        </p:nvSpPr>
        <p:spPr>
          <a:xfrm>
            <a:off x="380999" y="181497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cceptance criteria are easier to do with a domain model in place</a:t>
            </a:r>
            <a:endParaRPr kumimoji="0" lang="en-US" sz="1412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F69E8E79-ADE6-40B5-97AB-D9F699522BC7}"/>
              </a:ext>
            </a:extLst>
          </p:cNvPr>
          <p:cNvSpPr txBox="1">
            <a:spLocks/>
          </p:cNvSpPr>
          <p:nvPr/>
        </p:nvSpPr>
        <p:spPr>
          <a:xfrm>
            <a:off x="323528" y="6238875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cceptance criteria also provide excellent input into your domain model!</a:t>
            </a:r>
            <a:endParaRPr kumimoji="0" lang="en-US" sz="1412" b="0" i="1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073A092C-93DF-42E1-9B2A-8D21851E6113}"/>
              </a:ext>
            </a:extLst>
          </p:cNvPr>
          <p:cNvGraphicFramePr>
            <a:graphicFrameLocks noGrp="1"/>
          </p:cNvGraphicFramePr>
          <p:nvPr/>
        </p:nvGraphicFramePr>
        <p:xfrm>
          <a:off x="5076056" y="836712"/>
          <a:ext cx="2772268" cy="1142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0641">
                  <a:extLst>
                    <a:ext uri="{9D8B030D-6E8A-4147-A177-3AD203B41FA5}">
                      <a16:colId xmlns:a16="http://schemas.microsoft.com/office/drawing/2014/main" val="1801352779"/>
                    </a:ext>
                  </a:extLst>
                </a:gridCol>
                <a:gridCol w="1131627">
                  <a:extLst>
                    <a:ext uri="{9D8B030D-6E8A-4147-A177-3AD203B41FA5}">
                      <a16:colId xmlns:a16="http://schemas.microsoft.com/office/drawing/2014/main" val="232780794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n-CA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count </a:t>
                      </a:r>
                      <a:endParaRPr lang="en-CA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442559"/>
                  </a:ext>
                </a:extLst>
              </a:tr>
              <a:tr h="374950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longs to a Custome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stomer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60749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 An Account Type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DDA, Saving, Checking, </a:t>
                      </a:r>
                      <a:r>
                        <a:rPr lang="en-CA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tc</a:t>
                      </a:r>
                      <a:r>
                        <a:rPr lang="en-CA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6490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62718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DDD315C-7E36-4D05-BE86-B15907B288A8}"/>
              </a:ext>
            </a:extLst>
          </p:cNvPr>
          <p:cNvSpPr/>
          <p:nvPr/>
        </p:nvSpPr>
        <p:spPr bwMode="auto">
          <a:xfrm>
            <a:off x="395536" y="993800"/>
            <a:ext cx="1080120" cy="576064"/>
          </a:xfrm>
          <a:prstGeom prst="rect">
            <a:avLst/>
          </a:prstGeom>
          <a:noFill/>
          <a:ln w="6350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A1DE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FDA6AA0-7580-4411-939C-4E9B40ADA5E0}"/>
              </a:ext>
            </a:extLst>
          </p:cNvPr>
          <p:cNvSpPr/>
          <p:nvPr/>
        </p:nvSpPr>
        <p:spPr bwMode="auto">
          <a:xfrm>
            <a:off x="1547664" y="993800"/>
            <a:ext cx="1080120" cy="576064"/>
          </a:xfrm>
          <a:prstGeom prst="rect">
            <a:avLst/>
          </a:prstGeom>
          <a:noFill/>
          <a:ln w="6350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A1DE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B7895C-287F-480E-8A72-A15B3AA52EB3}"/>
              </a:ext>
            </a:extLst>
          </p:cNvPr>
          <p:cNvSpPr/>
          <p:nvPr/>
        </p:nvSpPr>
        <p:spPr bwMode="auto">
          <a:xfrm>
            <a:off x="2699792" y="99380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A1DE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y</a:t>
            </a: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E5B98FB5-5667-474C-9756-B38B2255FF23}"/>
              </a:ext>
            </a:extLst>
          </p:cNvPr>
          <p:cNvSpPr txBox="1">
            <a:spLocks/>
          </p:cNvSpPr>
          <p:nvPr/>
        </p:nvSpPr>
        <p:spPr>
          <a:xfrm>
            <a:off x="380999" y="181497"/>
            <a:ext cx="6038907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Detailed Domain Modelling and Spec by Example can be done in parallel</a:t>
            </a:r>
            <a:endParaRPr kumimoji="0" lang="en-US" sz="1412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F69E8E79-ADE6-40B5-97AB-D9F699522BC7}"/>
              </a:ext>
            </a:extLst>
          </p:cNvPr>
          <p:cNvSpPr txBox="1">
            <a:spLocks/>
          </p:cNvSpPr>
          <p:nvPr/>
        </p:nvSpPr>
        <p:spPr>
          <a:xfrm>
            <a:off x="251520" y="6238875"/>
            <a:ext cx="5112568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cceptance criteria are also an excellent time to build and refine your domain model!</a:t>
            </a:r>
            <a:endParaRPr kumimoji="0" lang="en-US" sz="1412" b="0" i="1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97133F-1B65-42A4-8AEF-5C1B9FCBF6E6}"/>
              </a:ext>
            </a:extLst>
          </p:cNvPr>
          <p:cNvSpPr txBox="1">
            <a:spLocks/>
          </p:cNvSpPr>
          <p:nvPr/>
        </p:nvSpPr>
        <p:spPr>
          <a:xfrm>
            <a:off x="107504" y="1772816"/>
            <a:ext cx="5112568" cy="33123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pply For a Payment Product Agreemen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Story Scenario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Giv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 the following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Payments Product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exis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n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 the following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Custom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 exist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it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a valid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DA Accou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Wh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 the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Custom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 applies for a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Payment Product Agreement 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us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his DDA Account 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it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an Owner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that ha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the following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ontact Detail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Th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 the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Payment Product Agreemen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will be submitted to…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D10C28B-9CD4-409E-A77E-EC6D030C7738}"/>
              </a:ext>
            </a:extLst>
          </p:cNvPr>
          <p:cNvCxnSpPr>
            <a:cxnSpLocks/>
          </p:cNvCxnSpPr>
          <p:nvPr/>
        </p:nvCxnSpPr>
        <p:spPr bwMode="auto">
          <a:xfrm flipV="1">
            <a:off x="4572000" y="1268760"/>
            <a:ext cx="1847906" cy="1224136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39AC4FA-8760-4F9A-8ADE-A596B5F5837C}"/>
              </a:ext>
            </a:extLst>
          </p:cNvPr>
          <p:cNvCxnSpPr>
            <a:cxnSpLocks/>
          </p:cNvCxnSpPr>
          <p:nvPr/>
        </p:nvCxnSpPr>
        <p:spPr bwMode="auto">
          <a:xfrm flipV="1">
            <a:off x="3563888" y="2492896"/>
            <a:ext cx="2808312" cy="36004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5DB473E-9916-4446-83EF-C642BE3243A5}"/>
              </a:ext>
            </a:extLst>
          </p:cNvPr>
          <p:cNvCxnSpPr>
            <a:cxnSpLocks/>
          </p:cNvCxnSpPr>
          <p:nvPr/>
        </p:nvCxnSpPr>
        <p:spPr bwMode="auto">
          <a:xfrm flipV="1">
            <a:off x="5307075" y="3312524"/>
            <a:ext cx="1055818" cy="72007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D738B43-18D4-416A-ADF7-2B3F2A4C7C60}"/>
              </a:ext>
            </a:extLst>
          </p:cNvPr>
          <p:cNvCxnSpPr>
            <a:cxnSpLocks/>
          </p:cNvCxnSpPr>
          <p:nvPr/>
        </p:nvCxnSpPr>
        <p:spPr bwMode="auto">
          <a:xfrm>
            <a:off x="3059832" y="3923857"/>
            <a:ext cx="3303061" cy="8277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EA29970B-F7A7-49D8-B3BA-101546BD98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9906" y="298284"/>
            <a:ext cx="2394275" cy="6234545"/>
          </a:xfrm>
          <a:prstGeom prst="rect">
            <a:avLst/>
          </a:prstGeom>
        </p:spPr>
      </p:pic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456F59E-2914-4F30-BC63-3843B51979F4}"/>
              </a:ext>
            </a:extLst>
          </p:cNvPr>
          <p:cNvCxnSpPr>
            <a:cxnSpLocks/>
          </p:cNvCxnSpPr>
          <p:nvPr/>
        </p:nvCxnSpPr>
        <p:spPr bwMode="auto">
          <a:xfrm>
            <a:off x="4355976" y="4356725"/>
            <a:ext cx="2006917" cy="1016491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4027857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376B6B-164C-44A6-80EE-439FB6311E9C}"/>
              </a:ext>
            </a:extLst>
          </p:cNvPr>
          <p:cNvSpPr/>
          <p:nvPr/>
        </p:nvSpPr>
        <p:spPr>
          <a:xfrm>
            <a:off x="611560" y="2636912"/>
            <a:ext cx="804965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ake an individual story and define it in terms of Acceptance Criteria and / or Specification Scenario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rite each AC / Scenario step in a way that explicitly calls out the concepts in your domain mode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aborate / refine the domain model as you g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alidate the domain model by walking through the stor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33D2887-D68A-406C-9437-3844A42C9011}"/>
              </a:ext>
            </a:extLst>
          </p:cNvPr>
          <p:cNvSpPr txBox="1">
            <a:spLocks/>
          </p:cNvSpPr>
          <p:nvPr/>
        </p:nvSpPr>
        <p:spPr>
          <a:xfrm>
            <a:off x="395536" y="2132856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Exercise: Detail the Domain Model</a:t>
            </a:r>
            <a:endParaRPr kumimoji="0" lang="en-US" sz="1412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5983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A" dirty="0"/>
              <a:t>Refining your Modelling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477250" y="6605868"/>
            <a:ext cx="532279" cy="163886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18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105609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376B6B-164C-44A6-80EE-439FB6311E9C}"/>
              </a:ext>
            </a:extLst>
          </p:cNvPr>
          <p:cNvSpPr/>
          <p:nvPr/>
        </p:nvSpPr>
        <p:spPr>
          <a:xfrm>
            <a:off x="457078" y="1052736"/>
            <a:ext cx="8686922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void many to many relationship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create a card to represent the relationship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void dependency magnet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reak up classes with to many responsibilities into discrete domain concept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volve “generic” responsibilities 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o domain specific on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e Abstraction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ush behavior found in multiple places into a common class; use inheritance to “inject” the common behavior into these subject are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ta Lay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sider moving the configurable part into a separate set of classes, known as a “meta layer”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lk the Model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enever getting “lost in the model ground the conversation by walking the model through a scenari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nect to architectur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“Annotate and inject” common functionality through inheritance, and collect common behavior into a set of requirements that influence the choice of technology, patterns and/or API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stablish boundari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ere multiple teams / systems connect and overlap, call out mapping and integration mechanism; </a:t>
            </a: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y to express dependencies in terms of specific domain concep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33D2887-D68A-406C-9437-3844A42C9011}"/>
              </a:ext>
            </a:extLst>
          </p:cNvPr>
          <p:cNvSpPr txBox="1">
            <a:spLocks/>
          </p:cNvSpPr>
          <p:nvPr/>
        </p:nvSpPr>
        <p:spPr>
          <a:xfrm>
            <a:off x="275667" y="116632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There are a lot of traps to avoid when writing a domain models, follow these best practices:</a:t>
            </a:r>
            <a:endParaRPr kumimoji="0" lang="en-US" sz="1412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97334DC-B488-4AB1-A3AF-486326EE539B}"/>
              </a:ext>
            </a:extLst>
          </p:cNvPr>
          <p:cNvSpPr txBox="1">
            <a:spLocks/>
          </p:cNvSpPr>
          <p:nvPr/>
        </p:nvSpPr>
        <p:spPr>
          <a:xfrm>
            <a:off x="594299" y="5733256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As a Class which of these do we want to explore? </a:t>
            </a:r>
            <a:endParaRPr kumimoji="0" lang="en-US" sz="1412" b="0" i="1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7820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4384676" y="6605978"/>
            <a:ext cx="548640" cy="163122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solidFill>
                  <a:srgbClr val="002776"/>
                </a:solidFill>
                <a:cs typeface="Arial" pitchFamily="34" charset="0"/>
              </a:rPr>
              <a:t>The number one reason for failure of software projects is a failure of </a:t>
            </a:r>
            <a:r>
              <a:rPr lang="en-US" dirty="0" err="1">
                <a:solidFill>
                  <a:srgbClr val="002776"/>
                </a:solidFill>
                <a:cs typeface="Arial" pitchFamily="34" charset="0"/>
              </a:rPr>
              <a:t>peopleto</a:t>
            </a:r>
            <a:r>
              <a:rPr lang="en-US" dirty="0">
                <a:solidFill>
                  <a:srgbClr val="002776"/>
                </a:solidFill>
                <a:cs typeface="Arial" pitchFamily="34" charset="0"/>
              </a:rPr>
              <a:t> communicate</a:t>
            </a:r>
            <a:endParaRPr lang="en-US" sz="1412" b="0" dirty="0">
              <a:cs typeface="Arial" charset="0"/>
            </a:endParaRPr>
          </a:p>
        </p:txBody>
      </p:sp>
      <p:sp>
        <p:nvSpPr>
          <p:cNvPr id="5126" name="TextBox 10"/>
          <p:cNvSpPr txBox="1">
            <a:spLocks noChangeArrowheads="1"/>
          </p:cNvSpPr>
          <p:nvPr/>
        </p:nvSpPr>
        <p:spPr bwMode="auto">
          <a:xfrm>
            <a:off x="4932040" y="1268760"/>
            <a:ext cx="4104456" cy="46085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44917" tIns="0" rIns="44917" bIns="0" anchor="ctr"/>
          <a:lstStyle/>
          <a:p>
            <a:pPr marL="116976" marR="0" lvl="1" indent="-116976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One layer of the solution is built using the language of the model</a:t>
            </a:r>
          </a:p>
          <a:p>
            <a:pPr marL="116976" marR="0" lvl="1" indent="-116976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For cut dev this is the business logic layer</a:t>
            </a:r>
          </a:p>
          <a:p>
            <a:pPr marL="116976" marR="0" lvl="1" indent="-116976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For package, the interfaces and testing layer are good candidates</a:t>
            </a:r>
          </a:p>
          <a:p>
            <a:pPr marL="116976" marR="0" lvl="1" indent="-116976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Use one set of terms across the solution and problem space</a:t>
            </a:r>
          </a:p>
          <a:p>
            <a:pPr marL="116976" marR="0" lvl="1" indent="-116976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Language permeates stories, test cases, database, service methods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etc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  <a:p>
            <a:pPr marL="0" marR="0" lvl="1" indent="0" algn="l" defTabSz="898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One model for the code, the diagrams, and the language people use!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1F390EC-89F7-4366-BE0C-5EC7ADC277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8800"/>
            <a:ext cx="4421021" cy="3585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4434F92F-B211-49A7-A318-82EE1698A20A}"/>
              </a:ext>
            </a:extLst>
          </p:cNvPr>
          <p:cNvSpPr/>
          <p:nvPr/>
        </p:nvSpPr>
        <p:spPr>
          <a:xfrm>
            <a:off x="179512" y="3501008"/>
            <a:ext cx="4752528" cy="100811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613163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-1"/>
            <a:ext cx="9169056" cy="6858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2973" y="96045"/>
            <a:ext cx="5576842" cy="576879"/>
          </a:xfrm>
        </p:spPr>
        <p:txBody>
          <a:bodyPr/>
          <a:lstStyle/>
          <a:p>
            <a:r>
              <a:rPr lang="en-CA" sz="1400" dirty="0"/>
              <a:t>When you have a many to many relationship, that is a </a:t>
            </a:r>
            <a:r>
              <a:rPr lang="en-CA" sz="1600" dirty="0"/>
              <a:t>STRONG </a:t>
            </a:r>
            <a:r>
              <a:rPr lang="en-CA" sz="1400" dirty="0"/>
              <a:t>signal that you need to create a card to represent the relationship</a:t>
            </a:r>
          </a:p>
        </p:txBody>
      </p:sp>
    </p:spTree>
    <p:extLst>
      <p:ext uri="{BB962C8B-B14F-4D97-AF65-F5344CB8AC3E}">
        <p14:creationId xmlns:p14="http://schemas.microsoft.com/office/powerpoint/2010/main" val="27778603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45720" y="-1"/>
            <a:ext cx="9189720" cy="679143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23900" y="5949280"/>
            <a:ext cx="6747979" cy="720080"/>
          </a:xfr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CA" sz="1400" dirty="0"/>
              <a:t>Avoid dependency magnets; break up classes that have too many responsibilities into discrete domain concepts that match the business language used to describe different concepts being represented by the class</a:t>
            </a:r>
          </a:p>
        </p:txBody>
      </p:sp>
    </p:spTree>
    <p:extLst>
      <p:ext uri="{BB962C8B-B14F-4D97-AF65-F5344CB8AC3E}">
        <p14:creationId xmlns:p14="http://schemas.microsoft.com/office/powerpoint/2010/main" val="164863208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-2"/>
            <a:ext cx="9144000" cy="6858001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78321" y="148869"/>
            <a:ext cx="6134526" cy="1156453"/>
          </a:xfrm>
        </p:spPr>
        <p:txBody>
          <a:bodyPr/>
          <a:lstStyle/>
          <a:p>
            <a:r>
              <a:rPr lang="en-CA" sz="1400" dirty="0"/>
              <a:t>Evolve “generic” responsibilities and collaborations into responsibilities that are domain driven, and express the business language involved</a:t>
            </a:r>
          </a:p>
        </p:txBody>
      </p:sp>
    </p:spTree>
    <p:extLst>
      <p:ext uri="{BB962C8B-B14F-4D97-AF65-F5344CB8AC3E}">
        <p14:creationId xmlns:p14="http://schemas.microsoft.com/office/powerpoint/2010/main" val="232988732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-2"/>
            <a:ext cx="9144000" cy="6858001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6137" y="2492896"/>
            <a:ext cx="3096344" cy="1156453"/>
          </a:xfrm>
        </p:spPr>
        <p:txBody>
          <a:bodyPr/>
          <a:lstStyle/>
          <a:p>
            <a:r>
              <a:rPr lang="en-CA" sz="1600" dirty="0"/>
              <a:t>Consider pushing behavior found in multiple places into a common class that describes the key domain concept common across domain subject areas; use inheritance to “inject” the common behavior into these subject areas</a:t>
            </a:r>
          </a:p>
        </p:txBody>
      </p:sp>
    </p:spTree>
    <p:extLst>
      <p:ext uri="{BB962C8B-B14F-4D97-AF65-F5344CB8AC3E}">
        <p14:creationId xmlns:p14="http://schemas.microsoft.com/office/powerpoint/2010/main" val="157802108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43315" y="2071805"/>
            <a:ext cx="3111936" cy="1156453"/>
          </a:xfrm>
        </p:spPr>
        <p:txBody>
          <a:bodyPr/>
          <a:lstStyle/>
          <a:p>
            <a:r>
              <a:rPr lang="en-CA" dirty="0"/>
              <a:t>When parts of your system are “configurable” consider moving the configurable part into a separate set of classes, known as a “meta layer”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915520" y="928516"/>
            <a:ext cx="6858003" cy="5000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5150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1" y="-1"/>
            <a:ext cx="9144001" cy="6858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11005" y="405967"/>
            <a:ext cx="5576842" cy="1156453"/>
          </a:xfrm>
        </p:spPr>
        <p:txBody>
          <a:bodyPr/>
          <a:lstStyle/>
          <a:p>
            <a:r>
              <a:rPr lang="en-CA" dirty="0"/>
              <a:t>Always ground the conversation by walking the model through a scenario, repeat the scenario walk-through whenever getting “lost in the model</a:t>
            </a:r>
          </a:p>
        </p:txBody>
      </p:sp>
    </p:spTree>
    <p:extLst>
      <p:ext uri="{BB962C8B-B14F-4D97-AF65-F5344CB8AC3E}">
        <p14:creationId xmlns:p14="http://schemas.microsoft.com/office/powerpoint/2010/main" val="364618254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-2"/>
            <a:ext cx="9144000" cy="6858001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4264" y="5478587"/>
            <a:ext cx="8165054" cy="868860"/>
          </a:xfrm>
        </p:spPr>
        <p:txBody>
          <a:bodyPr/>
          <a:lstStyle/>
          <a:p>
            <a:r>
              <a:rPr lang="en-CA" sz="1800" dirty="0"/>
              <a:t>When walking a CRC model in support of a user story or scenario, start with the class that represents a persona, person or role. Make sure that the responsibilities of this “boundary” class aligns to a user story on the story map</a:t>
            </a:r>
          </a:p>
        </p:txBody>
      </p:sp>
    </p:spTree>
    <p:extLst>
      <p:ext uri="{BB962C8B-B14F-4D97-AF65-F5344CB8AC3E}">
        <p14:creationId xmlns:p14="http://schemas.microsoft.com/office/powerpoint/2010/main" val="112033958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34471" y="123163"/>
            <a:ext cx="6061785" cy="4546339"/>
          </a:xfr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38557" y="345036"/>
            <a:ext cx="2742816" cy="2111934"/>
          </a:xfrm>
        </p:spPr>
        <p:txBody>
          <a:bodyPr/>
          <a:lstStyle/>
          <a:p>
            <a:r>
              <a:rPr lang="en-CA" sz="1800" dirty="0"/>
              <a:t>Annotate the model with questions, and require clarifications, then make sure to update the model based on the answer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498816" y="2624116"/>
            <a:ext cx="5645184" cy="4233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07814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-1"/>
            <a:ext cx="9144000" cy="6858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78992" y="5373216"/>
            <a:ext cx="5576842" cy="576879"/>
          </a:xfrm>
        </p:spPr>
        <p:txBody>
          <a:bodyPr/>
          <a:lstStyle/>
          <a:p>
            <a:r>
              <a:rPr lang="en-CA" sz="1800" dirty="0"/>
              <a:t>Connect the model to architecture by “injecting” common functionality through inheritance, collect common behavior into a set of requirements that influence the choice of technology, patterns and/or APIs</a:t>
            </a:r>
          </a:p>
        </p:txBody>
      </p:sp>
    </p:spTree>
    <p:extLst>
      <p:ext uri="{BB962C8B-B14F-4D97-AF65-F5344CB8AC3E}">
        <p14:creationId xmlns:p14="http://schemas.microsoft.com/office/powerpoint/2010/main" val="217619366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auto" latinLnBrk="0" hangingPunct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 2" pitchFamily="18" charset="2"/>
              <a:buNone/>
              <a:tabLst/>
              <a:defRPr/>
            </a:pPr>
            <a:fld id="{2A2CB195-FDE1-4330-95FD-5BB79EF58721}" type="slidenum">
              <a:rPr kumimoji="0" lang="en-CA" sz="971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0" fontAlgn="auto" latinLnBrk="0" hangingPunct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 2" pitchFamily="18" charset="2"/>
                <a:buNone/>
                <a:tabLst/>
                <a:defRPr/>
              </a:pPr>
              <a:t>49</a:t>
            </a:fld>
            <a:endParaRPr kumimoji="0" lang="en-CA" sz="97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stablish boundaries of meaning across different teams and systems; calling out mapping and integration mechanism</a:t>
            </a:r>
          </a:p>
        </p:txBody>
      </p:sp>
      <p:sp>
        <p:nvSpPr>
          <p:cNvPr id="5" name="AutoShape 2" descr="https://mail.deloitte.ca/OWA/service.svc/s/GetFileAttachment?id=AAMkAGNkZTBhMzgwLTJmMTUtNGY5My1iMWE4LTA1ZDdlYTFkM2M4MgBGAAAAAADUcaZKDZMHRaJg3uIGfSV1BwDlOcyO%2BGUfTIzcO%2F5rIXAKAAAAGjegAADVlVpexxRUToIVNDXnwLnhAACOIBwNAAABEgAQAP%2FbSULDyZxGnQyJsVf78wk%3D&amp;isImagePreview=True&amp;X-OWA-CANARY=85ofijts4kWqATHD5Y79cYwq0gU8sdEIjeaDHkYR8uvTcBYvy-qUPWKFHLkTKTAY4DOsdEclBeY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8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AutoShape 4" descr="https://mail.deloitte.ca/OWA/service.svc/s/GetFileAttachment?id=AAMkAGNkZTBhMzgwLTJmMTUtNGY5My1iMWE4LTA1ZDdlYTFkM2M4MgBGAAAAAADUcaZKDZMHRaJg3uIGfSV1BwDlOcyO%2BGUfTIzcO%2F5rIXAKAAAAGjegAADVlVpexxRUToIVNDXnwLnhAACOIBwNAAABEgAQAP%2FbSULDyZxGnQyJsVf78wk%3D&amp;isImagePreview=True&amp;X-OWA-CANARY=85ofijts4kWqATHD5Y79cYwq0gU8sdEIjeaDHkYR8uvTcBYvy-qUPWKFHLkTKTAY4DOsdEclBeY.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8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789"/>
          <a:stretch/>
        </p:blipFill>
        <p:spPr>
          <a:xfrm rot="10800000">
            <a:off x="4716016" y="1217616"/>
            <a:ext cx="4398995" cy="5667768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07504" y="1375144"/>
            <a:ext cx="4316932" cy="5438232"/>
          </a:xfrm>
        </p:spPr>
        <p:txBody>
          <a:bodyPr/>
          <a:lstStyle/>
          <a:p>
            <a:r>
              <a:rPr lang="en-CA" sz="2000" dirty="0"/>
              <a:t>Identify key domain constructs/objects that are relevant to both the business and the system to play</a:t>
            </a:r>
          </a:p>
          <a:p>
            <a:r>
              <a:rPr lang="en-CA" sz="2000" dirty="0"/>
              <a:t>Draw boundaries around constructs according to when the context changes ( different system, different team)</a:t>
            </a:r>
          </a:p>
          <a:p>
            <a:r>
              <a:rPr lang="en-CA" sz="2000" dirty="0"/>
              <a:t>Establish relationships and dependencies across different contexts</a:t>
            </a:r>
          </a:p>
          <a:p>
            <a:r>
              <a:rPr lang="en-CA" sz="2000" dirty="0"/>
              <a:t>For each relationship/dependency identify what integration pattern makes the most sense</a:t>
            </a:r>
          </a:p>
          <a:p>
            <a:r>
              <a:rPr lang="en-CA" sz="2000" dirty="0"/>
              <a:t>Establishing integration approach/policy between context owners for each dependency found</a:t>
            </a:r>
          </a:p>
        </p:txBody>
      </p:sp>
    </p:spTree>
    <p:extLst>
      <p:ext uri="{BB962C8B-B14F-4D97-AF65-F5344CB8AC3E}">
        <p14:creationId xmlns:p14="http://schemas.microsoft.com/office/powerpoint/2010/main" val="25182510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4407284" y="6181634"/>
            <a:ext cx="548640" cy="163122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18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Agile Methods Key to Building A Domain Model</a:t>
            </a:r>
          </a:p>
        </p:txBody>
      </p:sp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234773" y="2677294"/>
            <a:ext cx="8345021" cy="247650"/>
          </a:xfrm>
          <a:prstGeom prst="rect">
            <a:avLst/>
          </a:prstGeom>
          <a:solidFill>
            <a:srgbClr val="1D3A6A"/>
          </a:solidFill>
          <a:ln w="9525" algn="ctr">
            <a:solidFill>
              <a:srgbClr val="003366"/>
            </a:solidFill>
            <a:miter lim="800000"/>
            <a:headEnd/>
            <a:tailEnd/>
          </a:ln>
        </p:spPr>
        <p:txBody>
          <a:bodyPr lIns="88781" tIns="44396" rIns="88781" bIns="44396" anchor="ctr"/>
          <a:lstStyle/>
          <a:p>
            <a:pPr marL="0" marR="0" lvl="0" indent="0" algn="ctr" defTabSz="8905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8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12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main Driven Design</a:t>
            </a:r>
          </a:p>
        </p:txBody>
      </p:sp>
      <p:sp>
        <p:nvSpPr>
          <p:cNvPr id="8" name="Rectangle 7"/>
          <p:cNvSpPr/>
          <p:nvPr/>
        </p:nvSpPr>
        <p:spPr>
          <a:xfrm>
            <a:off x="210120" y="3076505"/>
            <a:ext cx="839432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 agile methodology for evolving a software system that closely aligns  to business requir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Practice to Maintain a </a:t>
            </a:r>
            <a:r>
              <a:rPr kumimoji="0" lang="en-US" alt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omain Mode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elective abstraction of knowledge from business domain exper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sponsible for representing business concepts, information about business situations, business state, and business ru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volves to represent the constraints of the technical solution as it becomes more well understo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common, ubiquitous language to express business terms using a vocabulary that both technical and business can use</a:t>
            </a:r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403443" y="908720"/>
            <a:ext cx="8345021" cy="247650"/>
          </a:xfrm>
          <a:prstGeom prst="rect">
            <a:avLst/>
          </a:prstGeom>
          <a:solidFill>
            <a:srgbClr val="1D3A6A"/>
          </a:solidFill>
          <a:ln w="9525" algn="ctr">
            <a:solidFill>
              <a:srgbClr val="003366"/>
            </a:solidFill>
            <a:miter lim="800000"/>
            <a:headEnd/>
            <a:tailEnd/>
          </a:ln>
        </p:spPr>
        <p:txBody>
          <a:bodyPr lIns="88781" tIns="44396" rIns="88781" bIns="44396" anchor="ctr"/>
          <a:lstStyle/>
          <a:p>
            <a:pPr marL="0" marR="0" lvl="0" indent="0" algn="ctr" defTabSz="8905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8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12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 responsibility Card Modell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403443" y="1276641"/>
            <a:ext cx="8390036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5567" marR="0" lvl="1" indent="-11556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2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 Agile Modelling technique to visually represent whole or part of an application or problem domain</a:t>
            </a:r>
          </a:p>
          <a:p>
            <a:pPr marL="115567" marR="0" lvl="1" indent="-11556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2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Quickly explore, shape, and discard domain concepts</a:t>
            </a:r>
          </a:p>
          <a:p>
            <a:pPr marL="115567" marR="0" lvl="1" indent="-11556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82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 will be using CRC to practice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omain Driven Design</a:t>
            </a:r>
          </a:p>
        </p:txBody>
      </p:sp>
    </p:spTree>
    <p:extLst>
      <p:ext uri="{BB962C8B-B14F-4D97-AF65-F5344CB8AC3E}">
        <p14:creationId xmlns:p14="http://schemas.microsoft.com/office/powerpoint/2010/main" val="9360107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4390186" y="6605978"/>
            <a:ext cx="532504" cy="163122"/>
          </a:xfrm>
        </p:spPr>
        <p:txBody>
          <a:bodyPr/>
          <a:lstStyle/>
          <a:p>
            <a:pPr marL="0" marR="0" lvl="0" indent="0" algn="ctr" defTabSz="914400" rtl="0" eaLnBrk="0" fontAlgn="auto" latinLnBrk="0" hangingPunct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 2" pitchFamily="18" charset="2"/>
              <a:buNone/>
              <a:tabLst/>
              <a:defRPr/>
            </a:pPr>
            <a:fld id="{2A2CB195-FDE1-4330-95FD-5BB79EF58721}" type="slidenum">
              <a:rPr kumimoji="0" lang="en-CA" sz="971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0" fontAlgn="auto" latinLnBrk="0" hangingPunct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 2" pitchFamily="18" charset="2"/>
                <a:buNone/>
                <a:tabLst/>
                <a:defRPr/>
              </a:pPr>
              <a:t>50</a:t>
            </a:fld>
            <a:endParaRPr kumimoji="0" lang="en-CA" sz="97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Use a deliberate strategy to ensure that models stay consistent within and across different team and system boundaries 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5292416" y="902674"/>
            <a:ext cx="3142376" cy="3123772"/>
            <a:chOff x="3839521" y="1354318"/>
            <a:chExt cx="3237599" cy="3218432"/>
          </a:xfrm>
        </p:grpSpPr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382299" y="1816622"/>
              <a:ext cx="1027901" cy="774178"/>
            </a:xfrm>
            <a:prstGeom prst="rect">
              <a:avLst/>
            </a:prstGeom>
          </p:spPr>
        </p:pic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 rot="4500000">
              <a:off x="4625987" y="2129635"/>
              <a:ext cx="1585766" cy="1486359"/>
            </a:xfrm>
            <a:prstGeom prst="rect">
              <a:avLst/>
            </a:prstGeom>
          </p:spPr>
        </p:pic>
        <p:grpSp>
          <p:nvGrpSpPr>
            <p:cNvPr id="14" name="Group 13"/>
            <p:cNvGrpSpPr/>
            <p:nvPr/>
          </p:nvGrpSpPr>
          <p:grpSpPr>
            <a:xfrm>
              <a:off x="5531474" y="3481891"/>
              <a:ext cx="993598" cy="503728"/>
              <a:chOff x="5045963" y="4517569"/>
              <a:chExt cx="1600200" cy="811259"/>
            </a:xfrm>
          </p:grpSpPr>
          <p:sp>
            <p:nvSpPr>
              <p:cNvPr id="90" name="Rectangle 89"/>
              <p:cNvSpPr/>
              <p:nvPr/>
            </p:nvSpPr>
            <p:spPr bwMode="auto">
              <a:xfrm>
                <a:off x="5065999" y="5027818"/>
                <a:ext cx="658428" cy="301010"/>
              </a:xfrm>
              <a:prstGeom prst="rect">
                <a:avLst/>
              </a:prstGeom>
              <a:solidFill>
                <a:schemeClr val="bg1"/>
              </a:solidFill>
              <a:ln w="63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0341" tIns="40341" rIns="40341" bIns="403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059" b="0" i="0" u="none" strike="noStrike" kern="1200" cap="none" spc="0" normalizeH="0" baseline="0" noProof="0" dirty="0">
                  <a:ln>
                    <a:noFill/>
                  </a:ln>
                  <a:solidFill>
                    <a:srgbClr val="00A1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 bwMode="auto">
              <a:xfrm>
                <a:off x="5107653" y="4542935"/>
                <a:ext cx="658428" cy="273645"/>
              </a:xfrm>
              <a:prstGeom prst="rect">
                <a:avLst/>
              </a:prstGeom>
              <a:solidFill>
                <a:schemeClr val="bg1"/>
              </a:solidFill>
              <a:ln w="63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0341" tIns="40341" rIns="40341" bIns="403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059" b="0" i="0" u="none" strike="noStrike" kern="1200" cap="none" spc="0" normalizeH="0" baseline="0" noProof="0" dirty="0">
                  <a:ln>
                    <a:noFill/>
                  </a:ln>
                  <a:solidFill>
                    <a:srgbClr val="00A1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7" name="Group 6"/>
              <p:cNvGrpSpPr/>
              <p:nvPr/>
            </p:nvGrpSpPr>
            <p:grpSpPr>
              <a:xfrm>
                <a:off x="5045963" y="4517569"/>
                <a:ext cx="1600200" cy="799264"/>
                <a:chOff x="6742997" y="4360841"/>
                <a:chExt cx="1600200" cy="799264"/>
              </a:xfrm>
            </p:grpSpPr>
            <p:pic>
              <p:nvPicPr>
                <p:cNvPr id="74" name="Picture 73"/>
                <p:cNvPicPr>
                  <a:picLocks noChangeAspect="1"/>
                </p:cNvPicPr>
                <p:nvPr/>
              </p:nvPicPr>
              <p:blipFill>
                <a:blip r:embed="rId5" cstate="email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5100000">
                  <a:off x="7662908" y="4617664"/>
                  <a:ext cx="381246" cy="72887"/>
                </a:xfrm>
                <a:prstGeom prst="rect">
                  <a:avLst/>
                </a:prstGeom>
              </p:spPr>
            </p:pic>
            <p:sp>
              <p:nvSpPr>
                <p:cNvPr id="75" name="Freeform 614"/>
                <p:cNvSpPr>
                  <a:spLocks noEditPoints="1"/>
                </p:cNvSpPr>
                <p:nvPr/>
              </p:nvSpPr>
              <p:spPr bwMode="auto">
                <a:xfrm>
                  <a:off x="6804687" y="4360841"/>
                  <a:ext cx="682180" cy="312923"/>
                </a:xfrm>
                <a:custGeom>
                  <a:avLst/>
                  <a:gdLst>
                    <a:gd name="T0" fmla="*/ 2147483646 w 194"/>
                    <a:gd name="T1" fmla="*/ 2147483646 h 143"/>
                    <a:gd name="T2" fmla="*/ 2147483646 w 194"/>
                    <a:gd name="T3" fmla="*/ 2147483646 h 143"/>
                    <a:gd name="T4" fmla="*/ 2147483646 w 194"/>
                    <a:gd name="T5" fmla="*/ 2147483646 h 143"/>
                    <a:gd name="T6" fmla="*/ 2147483646 w 194"/>
                    <a:gd name="T7" fmla="*/ 2147483646 h 143"/>
                    <a:gd name="T8" fmla="*/ 2147483646 w 194"/>
                    <a:gd name="T9" fmla="*/ 2147483646 h 143"/>
                    <a:gd name="T10" fmla="*/ 2147483646 w 194"/>
                    <a:gd name="T11" fmla="*/ 2147483646 h 143"/>
                    <a:gd name="T12" fmla="*/ 2147483646 w 194"/>
                    <a:gd name="T13" fmla="*/ 2147483646 h 143"/>
                    <a:gd name="T14" fmla="*/ 2147483646 w 194"/>
                    <a:gd name="T15" fmla="*/ 2147483646 h 143"/>
                    <a:gd name="T16" fmla="*/ 0 w 194"/>
                    <a:gd name="T17" fmla="*/ 2147483646 h 143"/>
                    <a:gd name="T18" fmla="*/ 2147483646 w 194"/>
                    <a:gd name="T19" fmla="*/ 2147483646 h 143"/>
                    <a:gd name="T20" fmla="*/ 2147483646 w 194"/>
                    <a:gd name="T21" fmla="*/ 2147483646 h 143"/>
                    <a:gd name="T22" fmla="*/ 2147483646 w 194"/>
                    <a:gd name="T23" fmla="*/ 2147483646 h 143"/>
                    <a:gd name="T24" fmla="*/ 0 w 194"/>
                    <a:gd name="T25" fmla="*/ 2147483646 h 143"/>
                    <a:gd name="T26" fmla="*/ 0 w 194"/>
                    <a:gd name="T27" fmla="*/ 2147483646 h 143"/>
                    <a:gd name="T28" fmla="*/ 2147483646 w 194"/>
                    <a:gd name="T29" fmla="*/ 0 h 143"/>
                    <a:gd name="T30" fmla="*/ 2147483646 w 194"/>
                    <a:gd name="T31" fmla="*/ 2147483646 h 143"/>
                    <a:gd name="T32" fmla="*/ 2147483646 w 194"/>
                    <a:gd name="T33" fmla="*/ 2147483646 h 143"/>
                    <a:gd name="T34" fmla="*/ 2147483646 w 194"/>
                    <a:gd name="T35" fmla="*/ 2147483646 h 143"/>
                    <a:gd name="T36" fmla="*/ 2147483646 w 194"/>
                    <a:gd name="T37" fmla="*/ 0 h 143"/>
                    <a:gd name="T38" fmla="*/ 2147483646 w 194"/>
                    <a:gd name="T39" fmla="*/ 2147483646 h 143"/>
                    <a:gd name="T40" fmla="*/ 2147483646 w 194"/>
                    <a:gd name="T41" fmla="*/ 2147483646 h 143"/>
                    <a:gd name="T42" fmla="*/ 2147483646 w 194"/>
                    <a:gd name="T43" fmla="*/ 2147483646 h 143"/>
                    <a:gd name="T44" fmla="*/ 2147483646 w 194"/>
                    <a:gd name="T45" fmla="*/ 2147483646 h 143"/>
                    <a:gd name="T46" fmla="*/ 2147483646 w 194"/>
                    <a:gd name="T47" fmla="*/ 2147483646 h 143"/>
                    <a:gd name="T48" fmla="*/ 2147483646 w 194"/>
                    <a:gd name="T49" fmla="*/ 2147483646 h 143"/>
                    <a:gd name="T50" fmla="*/ 2147483646 w 194"/>
                    <a:gd name="T51" fmla="*/ 2147483646 h 143"/>
                    <a:gd name="T52" fmla="*/ 2147483646 w 194"/>
                    <a:gd name="T53" fmla="*/ 2147483646 h 143"/>
                    <a:gd name="T54" fmla="*/ 2147483646 w 194"/>
                    <a:gd name="T55" fmla="*/ 2147483646 h 143"/>
                    <a:gd name="T56" fmla="*/ 2147483646 w 194"/>
                    <a:gd name="T57" fmla="*/ 2147483646 h 143"/>
                    <a:gd name="T58" fmla="*/ 2147483646 w 194"/>
                    <a:gd name="T59" fmla="*/ 2147483646 h 143"/>
                    <a:gd name="T60" fmla="*/ 2147483646 w 194"/>
                    <a:gd name="T61" fmla="*/ 2147483646 h 143"/>
                    <a:gd name="T62" fmla="*/ 2147483646 w 194"/>
                    <a:gd name="T63" fmla="*/ 2147483646 h 143"/>
                    <a:gd name="T64" fmla="*/ 2147483646 w 194"/>
                    <a:gd name="T65" fmla="*/ 2147483646 h 143"/>
                    <a:gd name="T66" fmla="*/ 2147483646 w 194"/>
                    <a:gd name="T67" fmla="*/ 2147483646 h 143"/>
                    <a:gd name="T68" fmla="*/ 2147483646 w 194"/>
                    <a:gd name="T69" fmla="*/ 2147483646 h 143"/>
                    <a:gd name="T70" fmla="*/ 2147483646 w 194"/>
                    <a:gd name="T71" fmla="*/ 2147483646 h 143"/>
                    <a:gd name="T72" fmla="*/ 2147483646 w 194"/>
                    <a:gd name="T73" fmla="*/ 2147483646 h 143"/>
                    <a:gd name="T74" fmla="*/ 2147483646 w 194"/>
                    <a:gd name="T75" fmla="*/ 2147483646 h 143"/>
                    <a:gd name="T76" fmla="*/ 2147483646 w 194"/>
                    <a:gd name="T77" fmla="*/ 2147483646 h 143"/>
                    <a:gd name="T78" fmla="*/ 2147483646 w 194"/>
                    <a:gd name="T79" fmla="*/ 2147483646 h 143"/>
                    <a:gd name="T80" fmla="*/ 2147483646 w 194"/>
                    <a:gd name="T81" fmla="*/ 2147483646 h 143"/>
                    <a:gd name="T82" fmla="*/ 2147483646 w 194"/>
                    <a:gd name="T83" fmla="*/ 2147483646 h 143"/>
                    <a:gd name="T84" fmla="*/ 2147483646 w 194"/>
                    <a:gd name="T85" fmla="*/ 2147483646 h 143"/>
                    <a:gd name="T86" fmla="*/ 2147483646 w 194"/>
                    <a:gd name="T87" fmla="*/ 2147483646 h 143"/>
                    <a:gd name="T88" fmla="*/ 2147483646 w 194"/>
                    <a:gd name="T89" fmla="*/ 2147483646 h 143"/>
                    <a:gd name="T90" fmla="*/ 2147483646 w 194"/>
                    <a:gd name="T91" fmla="*/ 2147483646 h 143"/>
                    <a:gd name="T92" fmla="*/ 2147483646 w 194"/>
                    <a:gd name="T93" fmla="*/ 2147483646 h 143"/>
                    <a:gd name="T94" fmla="*/ 2147483646 w 194"/>
                    <a:gd name="T95" fmla="*/ 2147483646 h 143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0" t="0" r="r" b="b"/>
                  <a:pathLst>
                    <a:path w="194" h="143">
                      <a:moveTo>
                        <a:pt x="194" y="141"/>
                      </a:moveTo>
                      <a:cubicBezTo>
                        <a:pt x="190" y="141"/>
                        <a:pt x="187" y="140"/>
                        <a:pt x="183" y="140"/>
                      </a:cubicBezTo>
                      <a:cubicBezTo>
                        <a:pt x="178" y="140"/>
                        <a:pt x="172" y="140"/>
                        <a:pt x="167" y="141"/>
                      </a:cubicBezTo>
                      <a:cubicBezTo>
                        <a:pt x="162" y="141"/>
                        <a:pt x="157" y="141"/>
                        <a:pt x="152" y="141"/>
                      </a:cubicBezTo>
                      <a:cubicBezTo>
                        <a:pt x="147" y="141"/>
                        <a:pt x="142" y="141"/>
                        <a:pt x="137" y="141"/>
                      </a:cubicBezTo>
                      <a:cubicBezTo>
                        <a:pt x="133" y="141"/>
                        <a:pt x="129" y="140"/>
                        <a:pt x="125" y="140"/>
                      </a:cubicBezTo>
                      <a:cubicBezTo>
                        <a:pt x="121" y="140"/>
                        <a:pt x="116" y="140"/>
                        <a:pt x="112" y="140"/>
                      </a:cubicBezTo>
                      <a:cubicBezTo>
                        <a:pt x="109" y="140"/>
                        <a:pt x="105" y="140"/>
                        <a:pt x="102" y="140"/>
                      </a:cubicBezTo>
                      <a:cubicBezTo>
                        <a:pt x="97" y="140"/>
                        <a:pt x="93" y="140"/>
                        <a:pt x="88" y="140"/>
                      </a:cubicBezTo>
                      <a:cubicBezTo>
                        <a:pt x="82" y="139"/>
                        <a:pt x="75" y="139"/>
                        <a:pt x="69" y="139"/>
                      </a:cubicBezTo>
                      <a:cubicBezTo>
                        <a:pt x="67" y="139"/>
                        <a:pt x="65" y="140"/>
                        <a:pt x="63" y="140"/>
                      </a:cubicBezTo>
                      <a:cubicBezTo>
                        <a:pt x="57" y="140"/>
                        <a:pt x="50" y="140"/>
                        <a:pt x="44" y="140"/>
                      </a:cubicBezTo>
                      <a:cubicBezTo>
                        <a:pt x="39" y="140"/>
                        <a:pt x="34" y="141"/>
                        <a:pt x="29" y="141"/>
                      </a:cubicBezTo>
                      <a:cubicBezTo>
                        <a:pt x="23" y="141"/>
                        <a:pt x="18" y="141"/>
                        <a:pt x="13" y="141"/>
                      </a:cubicBezTo>
                      <a:cubicBezTo>
                        <a:pt x="10" y="140"/>
                        <a:pt x="7" y="140"/>
                        <a:pt x="4" y="142"/>
                      </a:cubicBezTo>
                      <a:cubicBezTo>
                        <a:pt x="4" y="142"/>
                        <a:pt x="3" y="142"/>
                        <a:pt x="2" y="142"/>
                      </a:cubicBezTo>
                      <a:cubicBezTo>
                        <a:pt x="1" y="143"/>
                        <a:pt x="0" y="142"/>
                        <a:pt x="0" y="140"/>
                      </a:cubicBezTo>
                      <a:cubicBezTo>
                        <a:pt x="0" y="134"/>
                        <a:pt x="0" y="128"/>
                        <a:pt x="0" y="122"/>
                      </a:cubicBezTo>
                      <a:cubicBezTo>
                        <a:pt x="0" y="116"/>
                        <a:pt x="1" y="109"/>
                        <a:pt x="1" y="103"/>
                      </a:cubicBezTo>
                      <a:cubicBezTo>
                        <a:pt x="1" y="98"/>
                        <a:pt x="1" y="94"/>
                        <a:pt x="1" y="89"/>
                      </a:cubicBezTo>
                      <a:cubicBezTo>
                        <a:pt x="1" y="84"/>
                        <a:pt x="0" y="80"/>
                        <a:pt x="0" y="75"/>
                      </a:cubicBezTo>
                      <a:cubicBezTo>
                        <a:pt x="1" y="69"/>
                        <a:pt x="1" y="63"/>
                        <a:pt x="1" y="57"/>
                      </a:cubicBezTo>
                      <a:cubicBezTo>
                        <a:pt x="1" y="55"/>
                        <a:pt x="0" y="53"/>
                        <a:pt x="0" y="51"/>
                      </a:cubicBezTo>
                      <a:cubicBezTo>
                        <a:pt x="0" y="41"/>
                        <a:pt x="1" y="31"/>
                        <a:pt x="1" y="20"/>
                      </a:cubicBezTo>
                      <a:cubicBezTo>
                        <a:pt x="1" y="17"/>
                        <a:pt x="0" y="13"/>
                        <a:pt x="0" y="10"/>
                      </a:cubicBezTo>
                      <a:cubicBezTo>
                        <a:pt x="0" y="8"/>
                        <a:pt x="0" y="7"/>
                        <a:pt x="0" y="5"/>
                      </a:cubicBezTo>
                      <a:cubicBezTo>
                        <a:pt x="0" y="4"/>
                        <a:pt x="0" y="4"/>
                        <a:pt x="0" y="3"/>
                      </a:cubicBezTo>
                      <a:cubicBezTo>
                        <a:pt x="0" y="3"/>
                        <a:pt x="0" y="2"/>
                        <a:pt x="0" y="1"/>
                      </a:cubicBez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6" y="0"/>
                        <a:pt x="10" y="0"/>
                        <a:pt x="14" y="0"/>
                      </a:cubicBezTo>
                      <a:cubicBezTo>
                        <a:pt x="22" y="0"/>
                        <a:pt x="29" y="1"/>
                        <a:pt x="37" y="1"/>
                      </a:cubicBezTo>
                      <a:cubicBezTo>
                        <a:pt x="42" y="1"/>
                        <a:pt x="47" y="1"/>
                        <a:pt x="52" y="1"/>
                      </a:cubicBezTo>
                      <a:cubicBezTo>
                        <a:pt x="55" y="1"/>
                        <a:pt x="57" y="1"/>
                        <a:pt x="60" y="1"/>
                      </a:cubicBezTo>
                      <a:cubicBezTo>
                        <a:pt x="67" y="1"/>
                        <a:pt x="74" y="1"/>
                        <a:pt x="81" y="1"/>
                      </a:cubicBezTo>
                      <a:cubicBezTo>
                        <a:pt x="86" y="1"/>
                        <a:pt x="91" y="2"/>
                        <a:pt x="96" y="2"/>
                      </a:cubicBezTo>
                      <a:cubicBezTo>
                        <a:pt x="103" y="2"/>
                        <a:pt x="111" y="2"/>
                        <a:pt x="119" y="2"/>
                      </a:cubicBezTo>
                      <a:cubicBezTo>
                        <a:pt x="125" y="1"/>
                        <a:pt x="132" y="1"/>
                        <a:pt x="139" y="1"/>
                      </a:cubicBezTo>
                      <a:cubicBezTo>
                        <a:pt x="150" y="1"/>
                        <a:pt x="160" y="1"/>
                        <a:pt x="170" y="0"/>
                      </a:cubicBezTo>
                      <a:cubicBezTo>
                        <a:pt x="175" y="0"/>
                        <a:pt x="180" y="0"/>
                        <a:pt x="185" y="0"/>
                      </a:cubicBezTo>
                      <a:cubicBezTo>
                        <a:pt x="187" y="0"/>
                        <a:pt x="189" y="1"/>
                        <a:pt x="191" y="1"/>
                      </a:cubicBezTo>
                      <a:cubicBezTo>
                        <a:pt x="193" y="1"/>
                        <a:pt x="194" y="2"/>
                        <a:pt x="193" y="4"/>
                      </a:cubicBezTo>
                      <a:cubicBezTo>
                        <a:pt x="193" y="7"/>
                        <a:pt x="193" y="10"/>
                        <a:pt x="193" y="14"/>
                      </a:cubicBezTo>
                      <a:cubicBezTo>
                        <a:pt x="193" y="19"/>
                        <a:pt x="192" y="25"/>
                        <a:pt x="192" y="31"/>
                      </a:cubicBezTo>
                      <a:cubicBezTo>
                        <a:pt x="192" y="38"/>
                        <a:pt x="193" y="46"/>
                        <a:pt x="193" y="53"/>
                      </a:cubicBezTo>
                      <a:cubicBezTo>
                        <a:pt x="193" y="59"/>
                        <a:pt x="192" y="65"/>
                        <a:pt x="192" y="71"/>
                      </a:cubicBezTo>
                      <a:cubicBezTo>
                        <a:pt x="192" y="77"/>
                        <a:pt x="193" y="83"/>
                        <a:pt x="193" y="90"/>
                      </a:cubicBezTo>
                      <a:cubicBezTo>
                        <a:pt x="193" y="96"/>
                        <a:pt x="193" y="103"/>
                        <a:pt x="193" y="109"/>
                      </a:cubicBezTo>
                      <a:cubicBezTo>
                        <a:pt x="193" y="112"/>
                        <a:pt x="193" y="114"/>
                        <a:pt x="193" y="117"/>
                      </a:cubicBezTo>
                      <a:cubicBezTo>
                        <a:pt x="193" y="121"/>
                        <a:pt x="193" y="126"/>
                        <a:pt x="193" y="130"/>
                      </a:cubicBezTo>
                      <a:cubicBezTo>
                        <a:pt x="193" y="132"/>
                        <a:pt x="193" y="135"/>
                        <a:pt x="194" y="137"/>
                      </a:cubicBezTo>
                      <a:cubicBezTo>
                        <a:pt x="194" y="139"/>
                        <a:pt x="194" y="140"/>
                        <a:pt x="194" y="141"/>
                      </a:cubicBezTo>
                      <a:close/>
                      <a:moveTo>
                        <a:pt x="3" y="4"/>
                      </a:moveTo>
                      <a:cubicBezTo>
                        <a:pt x="3" y="7"/>
                        <a:pt x="3" y="10"/>
                        <a:pt x="3" y="13"/>
                      </a:cubicBezTo>
                      <a:cubicBezTo>
                        <a:pt x="4" y="16"/>
                        <a:pt x="3" y="20"/>
                        <a:pt x="3" y="24"/>
                      </a:cubicBezTo>
                      <a:cubicBezTo>
                        <a:pt x="3" y="30"/>
                        <a:pt x="4" y="36"/>
                        <a:pt x="4" y="43"/>
                      </a:cubicBezTo>
                      <a:cubicBezTo>
                        <a:pt x="4" y="50"/>
                        <a:pt x="3" y="57"/>
                        <a:pt x="3" y="64"/>
                      </a:cubicBezTo>
                      <a:cubicBezTo>
                        <a:pt x="3" y="68"/>
                        <a:pt x="4" y="73"/>
                        <a:pt x="4" y="77"/>
                      </a:cubicBezTo>
                      <a:cubicBezTo>
                        <a:pt x="3" y="85"/>
                        <a:pt x="3" y="92"/>
                        <a:pt x="3" y="100"/>
                      </a:cubicBezTo>
                      <a:cubicBezTo>
                        <a:pt x="3" y="106"/>
                        <a:pt x="3" y="113"/>
                        <a:pt x="3" y="119"/>
                      </a:cubicBezTo>
                      <a:cubicBezTo>
                        <a:pt x="3" y="125"/>
                        <a:pt x="3" y="130"/>
                        <a:pt x="3" y="135"/>
                      </a:cubicBezTo>
                      <a:cubicBezTo>
                        <a:pt x="3" y="138"/>
                        <a:pt x="3" y="138"/>
                        <a:pt x="6" y="138"/>
                      </a:cubicBezTo>
                      <a:cubicBezTo>
                        <a:pt x="9" y="138"/>
                        <a:pt x="12" y="138"/>
                        <a:pt x="15" y="138"/>
                      </a:cubicBezTo>
                      <a:cubicBezTo>
                        <a:pt x="20" y="138"/>
                        <a:pt x="26" y="138"/>
                        <a:pt x="31" y="138"/>
                      </a:cubicBezTo>
                      <a:cubicBezTo>
                        <a:pt x="39" y="138"/>
                        <a:pt x="48" y="137"/>
                        <a:pt x="57" y="137"/>
                      </a:cubicBezTo>
                      <a:cubicBezTo>
                        <a:pt x="67" y="137"/>
                        <a:pt x="77" y="137"/>
                        <a:pt x="87" y="137"/>
                      </a:cubicBezTo>
                      <a:cubicBezTo>
                        <a:pt x="89" y="137"/>
                        <a:pt x="90" y="137"/>
                        <a:pt x="91" y="137"/>
                      </a:cubicBezTo>
                      <a:cubicBezTo>
                        <a:pt x="95" y="137"/>
                        <a:pt x="100" y="137"/>
                        <a:pt x="104" y="137"/>
                      </a:cubicBezTo>
                      <a:cubicBezTo>
                        <a:pt x="107" y="137"/>
                        <a:pt x="110" y="137"/>
                        <a:pt x="113" y="137"/>
                      </a:cubicBezTo>
                      <a:cubicBezTo>
                        <a:pt x="117" y="137"/>
                        <a:pt x="120" y="137"/>
                        <a:pt x="123" y="137"/>
                      </a:cubicBezTo>
                      <a:cubicBezTo>
                        <a:pt x="128" y="137"/>
                        <a:pt x="134" y="137"/>
                        <a:pt x="139" y="138"/>
                      </a:cubicBezTo>
                      <a:cubicBezTo>
                        <a:pt x="145" y="138"/>
                        <a:pt x="151" y="138"/>
                        <a:pt x="157" y="138"/>
                      </a:cubicBezTo>
                      <a:cubicBezTo>
                        <a:pt x="162" y="138"/>
                        <a:pt x="168" y="138"/>
                        <a:pt x="174" y="137"/>
                      </a:cubicBezTo>
                      <a:cubicBezTo>
                        <a:pt x="175" y="137"/>
                        <a:pt x="176" y="137"/>
                        <a:pt x="177" y="137"/>
                      </a:cubicBezTo>
                      <a:cubicBezTo>
                        <a:pt x="181" y="137"/>
                        <a:pt x="185" y="137"/>
                        <a:pt x="189" y="137"/>
                      </a:cubicBezTo>
                      <a:cubicBezTo>
                        <a:pt x="190" y="137"/>
                        <a:pt x="191" y="137"/>
                        <a:pt x="191" y="136"/>
                      </a:cubicBezTo>
                      <a:cubicBezTo>
                        <a:pt x="191" y="128"/>
                        <a:pt x="190" y="119"/>
                        <a:pt x="190" y="111"/>
                      </a:cubicBezTo>
                      <a:cubicBezTo>
                        <a:pt x="190" y="105"/>
                        <a:pt x="190" y="100"/>
                        <a:pt x="190" y="94"/>
                      </a:cubicBezTo>
                      <a:cubicBezTo>
                        <a:pt x="190" y="84"/>
                        <a:pt x="190" y="74"/>
                        <a:pt x="190" y="64"/>
                      </a:cubicBezTo>
                      <a:cubicBezTo>
                        <a:pt x="190" y="55"/>
                        <a:pt x="190" y="47"/>
                        <a:pt x="190" y="38"/>
                      </a:cubicBezTo>
                      <a:cubicBezTo>
                        <a:pt x="190" y="33"/>
                        <a:pt x="190" y="29"/>
                        <a:pt x="190" y="24"/>
                      </a:cubicBezTo>
                      <a:cubicBezTo>
                        <a:pt x="190" y="18"/>
                        <a:pt x="190" y="12"/>
                        <a:pt x="190" y="7"/>
                      </a:cubicBezTo>
                      <a:cubicBezTo>
                        <a:pt x="190" y="3"/>
                        <a:pt x="190" y="3"/>
                        <a:pt x="186" y="3"/>
                      </a:cubicBezTo>
                      <a:cubicBezTo>
                        <a:pt x="185" y="3"/>
                        <a:pt x="183" y="3"/>
                        <a:pt x="182" y="3"/>
                      </a:cubicBezTo>
                      <a:cubicBezTo>
                        <a:pt x="171" y="3"/>
                        <a:pt x="160" y="4"/>
                        <a:pt x="148" y="4"/>
                      </a:cubicBezTo>
                      <a:cubicBezTo>
                        <a:pt x="144" y="4"/>
                        <a:pt x="140" y="4"/>
                        <a:pt x="135" y="4"/>
                      </a:cubicBezTo>
                      <a:cubicBezTo>
                        <a:pt x="129" y="4"/>
                        <a:pt x="123" y="4"/>
                        <a:pt x="117" y="4"/>
                      </a:cubicBezTo>
                      <a:cubicBezTo>
                        <a:pt x="114" y="4"/>
                        <a:pt x="111" y="5"/>
                        <a:pt x="108" y="5"/>
                      </a:cubicBezTo>
                      <a:cubicBezTo>
                        <a:pt x="105" y="5"/>
                        <a:pt x="103" y="4"/>
                        <a:pt x="101" y="4"/>
                      </a:cubicBezTo>
                      <a:cubicBezTo>
                        <a:pt x="96" y="4"/>
                        <a:pt x="91" y="4"/>
                        <a:pt x="87" y="4"/>
                      </a:cubicBezTo>
                      <a:cubicBezTo>
                        <a:pt x="83" y="4"/>
                        <a:pt x="79" y="4"/>
                        <a:pt x="75" y="4"/>
                      </a:cubicBezTo>
                      <a:cubicBezTo>
                        <a:pt x="70" y="3"/>
                        <a:pt x="66" y="4"/>
                        <a:pt x="61" y="4"/>
                      </a:cubicBezTo>
                      <a:cubicBezTo>
                        <a:pt x="57" y="4"/>
                        <a:pt x="52" y="3"/>
                        <a:pt x="48" y="3"/>
                      </a:cubicBezTo>
                      <a:cubicBezTo>
                        <a:pt x="43" y="3"/>
                        <a:pt x="38" y="4"/>
                        <a:pt x="33" y="4"/>
                      </a:cubicBezTo>
                      <a:cubicBezTo>
                        <a:pt x="28" y="4"/>
                        <a:pt x="23" y="3"/>
                        <a:pt x="18" y="4"/>
                      </a:cubicBezTo>
                      <a:cubicBezTo>
                        <a:pt x="15" y="4"/>
                        <a:pt x="12" y="4"/>
                        <a:pt x="9" y="4"/>
                      </a:cubicBezTo>
                      <a:cubicBezTo>
                        <a:pt x="7" y="4"/>
                        <a:pt x="5" y="4"/>
                        <a:pt x="3" y="4"/>
                      </a:cubicBezTo>
                      <a:close/>
                    </a:path>
                  </a:pathLst>
                </a:custGeom>
                <a:solidFill>
                  <a:srgbClr val="333399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A" sz="1588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" name="Freeform 614"/>
                <p:cNvSpPr>
                  <a:spLocks noEditPoints="1"/>
                </p:cNvSpPr>
                <p:nvPr/>
              </p:nvSpPr>
              <p:spPr bwMode="auto">
                <a:xfrm>
                  <a:off x="7661017" y="4839059"/>
                  <a:ext cx="682180" cy="312923"/>
                </a:xfrm>
                <a:custGeom>
                  <a:avLst/>
                  <a:gdLst>
                    <a:gd name="T0" fmla="*/ 2147483646 w 194"/>
                    <a:gd name="T1" fmla="*/ 2147483646 h 143"/>
                    <a:gd name="T2" fmla="*/ 2147483646 w 194"/>
                    <a:gd name="T3" fmla="*/ 2147483646 h 143"/>
                    <a:gd name="T4" fmla="*/ 2147483646 w 194"/>
                    <a:gd name="T5" fmla="*/ 2147483646 h 143"/>
                    <a:gd name="T6" fmla="*/ 2147483646 w 194"/>
                    <a:gd name="T7" fmla="*/ 2147483646 h 143"/>
                    <a:gd name="T8" fmla="*/ 2147483646 w 194"/>
                    <a:gd name="T9" fmla="*/ 2147483646 h 143"/>
                    <a:gd name="T10" fmla="*/ 2147483646 w 194"/>
                    <a:gd name="T11" fmla="*/ 2147483646 h 143"/>
                    <a:gd name="T12" fmla="*/ 2147483646 w 194"/>
                    <a:gd name="T13" fmla="*/ 2147483646 h 143"/>
                    <a:gd name="T14" fmla="*/ 2147483646 w 194"/>
                    <a:gd name="T15" fmla="*/ 2147483646 h 143"/>
                    <a:gd name="T16" fmla="*/ 0 w 194"/>
                    <a:gd name="T17" fmla="*/ 2147483646 h 143"/>
                    <a:gd name="T18" fmla="*/ 2147483646 w 194"/>
                    <a:gd name="T19" fmla="*/ 2147483646 h 143"/>
                    <a:gd name="T20" fmla="*/ 2147483646 w 194"/>
                    <a:gd name="T21" fmla="*/ 2147483646 h 143"/>
                    <a:gd name="T22" fmla="*/ 2147483646 w 194"/>
                    <a:gd name="T23" fmla="*/ 2147483646 h 143"/>
                    <a:gd name="T24" fmla="*/ 0 w 194"/>
                    <a:gd name="T25" fmla="*/ 2147483646 h 143"/>
                    <a:gd name="T26" fmla="*/ 0 w 194"/>
                    <a:gd name="T27" fmla="*/ 2147483646 h 143"/>
                    <a:gd name="T28" fmla="*/ 2147483646 w 194"/>
                    <a:gd name="T29" fmla="*/ 0 h 143"/>
                    <a:gd name="T30" fmla="*/ 2147483646 w 194"/>
                    <a:gd name="T31" fmla="*/ 2147483646 h 143"/>
                    <a:gd name="T32" fmla="*/ 2147483646 w 194"/>
                    <a:gd name="T33" fmla="*/ 2147483646 h 143"/>
                    <a:gd name="T34" fmla="*/ 2147483646 w 194"/>
                    <a:gd name="T35" fmla="*/ 2147483646 h 143"/>
                    <a:gd name="T36" fmla="*/ 2147483646 w 194"/>
                    <a:gd name="T37" fmla="*/ 0 h 143"/>
                    <a:gd name="T38" fmla="*/ 2147483646 w 194"/>
                    <a:gd name="T39" fmla="*/ 2147483646 h 143"/>
                    <a:gd name="T40" fmla="*/ 2147483646 w 194"/>
                    <a:gd name="T41" fmla="*/ 2147483646 h 143"/>
                    <a:gd name="T42" fmla="*/ 2147483646 w 194"/>
                    <a:gd name="T43" fmla="*/ 2147483646 h 143"/>
                    <a:gd name="T44" fmla="*/ 2147483646 w 194"/>
                    <a:gd name="T45" fmla="*/ 2147483646 h 143"/>
                    <a:gd name="T46" fmla="*/ 2147483646 w 194"/>
                    <a:gd name="T47" fmla="*/ 2147483646 h 143"/>
                    <a:gd name="T48" fmla="*/ 2147483646 w 194"/>
                    <a:gd name="T49" fmla="*/ 2147483646 h 143"/>
                    <a:gd name="T50" fmla="*/ 2147483646 w 194"/>
                    <a:gd name="T51" fmla="*/ 2147483646 h 143"/>
                    <a:gd name="T52" fmla="*/ 2147483646 w 194"/>
                    <a:gd name="T53" fmla="*/ 2147483646 h 143"/>
                    <a:gd name="T54" fmla="*/ 2147483646 w 194"/>
                    <a:gd name="T55" fmla="*/ 2147483646 h 143"/>
                    <a:gd name="T56" fmla="*/ 2147483646 w 194"/>
                    <a:gd name="T57" fmla="*/ 2147483646 h 143"/>
                    <a:gd name="T58" fmla="*/ 2147483646 w 194"/>
                    <a:gd name="T59" fmla="*/ 2147483646 h 143"/>
                    <a:gd name="T60" fmla="*/ 2147483646 w 194"/>
                    <a:gd name="T61" fmla="*/ 2147483646 h 143"/>
                    <a:gd name="T62" fmla="*/ 2147483646 w 194"/>
                    <a:gd name="T63" fmla="*/ 2147483646 h 143"/>
                    <a:gd name="T64" fmla="*/ 2147483646 w 194"/>
                    <a:gd name="T65" fmla="*/ 2147483646 h 143"/>
                    <a:gd name="T66" fmla="*/ 2147483646 w 194"/>
                    <a:gd name="T67" fmla="*/ 2147483646 h 143"/>
                    <a:gd name="T68" fmla="*/ 2147483646 w 194"/>
                    <a:gd name="T69" fmla="*/ 2147483646 h 143"/>
                    <a:gd name="T70" fmla="*/ 2147483646 w 194"/>
                    <a:gd name="T71" fmla="*/ 2147483646 h 143"/>
                    <a:gd name="T72" fmla="*/ 2147483646 w 194"/>
                    <a:gd name="T73" fmla="*/ 2147483646 h 143"/>
                    <a:gd name="T74" fmla="*/ 2147483646 w 194"/>
                    <a:gd name="T75" fmla="*/ 2147483646 h 143"/>
                    <a:gd name="T76" fmla="*/ 2147483646 w 194"/>
                    <a:gd name="T77" fmla="*/ 2147483646 h 143"/>
                    <a:gd name="T78" fmla="*/ 2147483646 w 194"/>
                    <a:gd name="T79" fmla="*/ 2147483646 h 143"/>
                    <a:gd name="T80" fmla="*/ 2147483646 w 194"/>
                    <a:gd name="T81" fmla="*/ 2147483646 h 143"/>
                    <a:gd name="T82" fmla="*/ 2147483646 w 194"/>
                    <a:gd name="T83" fmla="*/ 2147483646 h 143"/>
                    <a:gd name="T84" fmla="*/ 2147483646 w 194"/>
                    <a:gd name="T85" fmla="*/ 2147483646 h 143"/>
                    <a:gd name="T86" fmla="*/ 2147483646 w 194"/>
                    <a:gd name="T87" fmla="*/ 2147483646 h 143"/>
                    <a:gd name="T88" fmla="*/ 2147483646 w 194"/>
                    <a:gd name="T89" fmla="*/ 2147483646 h 143"/>
                    <a:gd name="T90" fmla="*/ 2147483646 w 194"/>
                    <a:gd name="T91" fmla="*/ 2147483646 h 143"/>
                    <a:gd name="T92" fmla="*/ 2147483646 w 194"/>
                    <a:gd name="T93" fmla="*/ 2147483646 h 143"/>
                    <a:gd name="T94" fmla="*/ 2147483646 w 194"/>
                    <a:gd name="T95" fmla="*/ 2147483646 h 143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0" t="0" r="r" b="b"/>
                  <a:pathLst>
                    <a:path w="194" h="143">
                      <a:moveTo>
                        <a:pt x="194" y="141"/>
                      </a:moveTo>
                      <a:cubicBezTo>
                        <a:pt x="190" y="141"/>
                        <a:pt x="187" y="140"/>
                        <a:pt x="183" y="140"/>
                      </a:cubicBezTo>
                      <a:cubicBezTo>
                        <a:pt x="178" y="140"/>
                        <a:pt x="172" y="140"/>
                        <a:pt x="167" y="141"/>
                      </a:cubicBezTo>
                      <a:cubicBezTo>
                        <a:pt x="162" y="141"/>
                        <a:pt x="157" y="141"/>
                        <a:pt x="152" y="141"/>
                      </a:cubicBezTo>
                      <a:cubicBezTo>
                        <a:pt x="147" y="141"/>
                        <a:pt x="142" y="141"/>
                        <a:pt x="137" y="141"/>
                      </a:cubicBezTo>
                      <a:cubicBezTo>
                        <a:pt x="133" y="141"/>
                        <a:pt x="129" y="140"/>
                        <a:pt x="125" y="140"/>
                      </a:cubicBezTo>
                      <a:cubicBezTo>
                        <a:pt x="121" y="140"/>
                        <a:pt x="116" y="140"/>
                        <a:pt x="112" y="140"/>
                      </a:cubicBezTo>
                      <a:cubicBezTo>
                        <a:pt x="109" y="140"/>
                        <a:pt x="105" y="140"/>
                        <a:pt x="102" y="140"/>
                      </a:cubicBezTo>
                      <a:cubicBezTo>
                        <a:pt x="97" y="140"/>
                        <a:pt x="93" y="140"/>
                        <a:pt x="88" y="140"/>
                      </a:cubicBezTo>
                      <a:cubicBezTo>
                        <a:pt x="82" y="139"/>
                        <a:pt x="75" y="139"/>
                        <a:pt x="69" y="139"/>
                      </a:cubicBezTo>
                      <a:cubicBezTo>
                        <a:pt x="67" y="139"/>
                        <a:pt x="65" y="140"/>
                        <a:pt x="63" y="140"/>
                      </a:cubicBezTo>
                      <a:cubicBezTo>
                        <a:pt x="57" y="140"/>
                        <a:pt x="50" y="140"/>
                        <a:pt x="44" y="140"/>
                      </a:cubicBezTo>
                      <a:cubicBezTo>
                        <a:pt x="39" y="140"/>
                        <a:pt x="34" y="141"/>
                        <a:pt x="29" y="141"/>
                      </a:cubicBezTo>
                      <a:cubicBezTo>
                        <a:pt x="23" y="141"/>
                        <a:pt x="18" y="141"/>
                        <a:pt x="13" y="141"/>
                      </a:cubicBezTo>
                      <a:cubicBezTo>
                        <a:pt x="10" y="140"/>
                        <a:pt x="7" y="140"/>
                        <a:pt x="4" y="142"/>
                      </a:cubicBezTo>
                      <a:cubicBezTo>
                        <a:pt x="4" y="142"/>
                        <a:pt x="3" y="142"/>
                        <a:pt x="2" y="142"/>
                      </a:cubicBezTo>
                      <a:cubicBezTo>
                        <a:pt x="1" y="143"/>
                        <a:pt x="0" y="142"/>
                        <a:pt x="0" y="140"/>
                      </a:cubicBezTo>
                      <a:cubicBezTo>
                        <a:pt x="0" y="134"/>
                        <a:pt x="0" y="128"/>
                        <a:pt x="0" y="122"/>
                      </a:cubicBezTo>
                      <a:cubicBezTo>
                        <a:pt x="0" y="116"/>
                        <a:pt x="1" y="109"/>
                        <a:pt x="1" y="103"/>
                      </a:cubicBezTo>
                      <a:cubicBezTo>
                        <a:pt x="1" y="98"/>
                        <a:pt x="1" y="94"/>
                        <a:pt x="1" y="89"/>
                      </a:cubicBezTo>
                      <a:cubicBezTo>
                        <a:pt x="1" y="84"/>
                        <a:pt x="0" y="80"/>
                        <a:pt x="0" y="75"/>
                      </a:cubicBezTo>
                      <a:cubicBezTo>
                        <a:pt x="1" y="69"/>
                        <a:pt x="1" y="63"/>
                        <a:pt x="1" y="57"/>
                      </a:cubicBezTo>
                      <a:cubicBezTo>
                        <a:pt x="1" y="55"/>
                        <a:pt x="0" y="53"/>
                        <a:pt x="0" y="51"/>
                      </a:cubicBezTo>
                      <a:cubicBezTo>
                        <a:pt x="0" y="41"/>
                        <a:pt x="1" y="31"/>
                        <a:pt x="1" y="20"/>
                      </a:cubicBezTo>
                      <a:cubicBezTo>
                        <a:pt x="1" y="17"/>
                        <a:pt x="0" y="13"/>
                        <a:pt x="0" y="10"/>
                      </a:cubicBezTo>
                      <a:cubicBezTo>
                        <a:pt x="0" y="8"/>
                        <a:pt x="0" y="7"/>
                        <a:pt x="0" y="5"/>
                      </a:cubicBezTo>
                      <a:cubicBezTo>
                        <a:pt x="0" y="4"/>
                        <a:pt x="0" y="4"/>
                        <a:pt x="0" y="3"/>
                      </a:cubicBezTo>
                      <a:cubicBezTo>
                        <a:pt x="0" y="3"/>
                        <a:pt x="0" y="2"/>
                        <a:pt x="0" y="1"/>
                      </a:cubicBez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6" y="0"/>
                        <a:pt x="10" y="0"/>
                        <a:pt x="14" y="0"/>
                      </a:cubicBezTo>
                      <a:cubicBezTo>
                        <a:pt x="22" y="0"/>
                        <a:pt x="29" y="1"/>
                        <a:pt x="37" y="1"/>
                      </a:cubicBezTo>
                      <a:cubicBezTo>
                        <a:pt x="42" y="1"/>
                        <a:pt x="47" y="1"/>
                        <a:pt x="52" y="1"/>
                      </a:cubicBezTo>
                      <a:cubicBezTo>
                        <a:pt x="55" y="1"/>
                        <a:pt x="57" y="1"/>
                        <a:pt x="60" y="1"/>
                      </a:cubicBezTo>
                      <a:cubicBezTo>
                        <a:pt x="67" y="1"/>
                        <a:pt x="74" y="1"/>
                        <a:pt x="81" y="1"/>
                      </a:cubicBezTo>
                      <a:cubicBezTo>
                        <a:pt x="86" y="1"/>
                        <a:pt x="91" y="2"/>
                        <a:pt x="96" y="2"/>
                      </a:cubicBezTo>
                      <a:cubicBezTo>
                        <a:pt x="103" y="2"/>
                        <a:pt x="111" y="2"/>
                        <a:pt x="119" y="2"/>
                      </a:cubicBezTo>
                      <a:cubicBezTo>
                        <a:pt x="125" y="1"/>
                        <a:pt x="132" y="1"/>
                        <a:pt x="139" y="1"/>
                      </a:cubicBezTo>
                      <a:cubicBezTo>
                        <a:pt x="150" y="1"/>
                        <a:pt x="160" y="1"/>
                        <a:pt x="170" y="0"/>
                      </a:cubicBezTo>
                      <a:cubicBezTo>
                        <a:pt x="175" y="0"/>
                        <a:pt x="180" y="0"/>
                        <a:pt x="185" y="0"/>
                      </a:cubicBezTo>
                      <a:cubicBezTo>
                        <a:pt x="187" y="0"/>
                        <a:pt x="189" y="1"/>
                        <a:pt x="191" y="1"/>
                      </a:cubicBezTo>
                      <a:cubicBezTo>
                        <a:pt x="193" y="1"/>
                        <a:pt x="194" y="2"/>
                        <a:pt x="193" y="4"/>
                      </a:cubicBezTo>
                      <a:cubicBezTo>
                        <a:pt x="193" y="7"/>
                        <a:pt x="193" y="10"/>
                        <a:pt x="193" y="14"/>
                      </a:cubicBezTo>
                      <a:cubicBezTo>
                        <a:pt x="193" y="19"/>
                        <a:pt x="192" y="25"/>
                        <a:pt x="192" y="31"/>
                      </a:cubicBezTo>
                      <a:cubicBezTo>
                        <a:pt x="192" y="38"/>
                        <a:pt x="193" y="46"/>
                        <a:pt x="193" y="53"/>
                      </a:cubicBezTo>
                      <a:cubicBezTo>
                        <a:pt x="193" y="59"/>
                        <a:pt x="192" y="65"/>
                        <a:pt x="192" y="71"/>
                      </a:cubicBezTo>
                      <a:cubicBezTo>
                        <a:pt x="192" y="77"/>
                        <a:pt x="193" y="83"/>
                        <a:pt x="193" y="90"/>
                      </a:cubicBezTo>
                      <a:cubicBezTo>
                        <a:pt x="193" y="96"/>
                        <a:pt x="193" y="103"/>
                        <a:pt x="193" y="109"/>
                      </a:cubicBezTo>
                      <a:cubicBezTo>
                        <a:pt x="193" y="112"/>
                        <a:pt x="193" y="114"/>
                        <a:pt x="193" y="117"/>
                      </a:cubicBezTo>
                      <a:cubicBezTo>
                        <a:pt x="193" y="121"/>
                        <a:pt x="193" y="126"/>
                        <a:pt x="193" y="130"/>
                      </a:cubicBezTo>
                      <a:cubicBezTo>
                        <a:pt x="193" y="132"/>
                        <a:pt x="193" y="135"/>
                        <a:pt x="194" y="137"/>
                      </a:cubicBezTo>
                      <a:cubicBezTo>
                        <a:pt x="194" y="139"/>
                        <a:pt x="194" y="140"/>
                        <a:pt x="194" y="141"/>
                      </a:cubicBezTo>
                      <a:close/>
                      <a:moveTo>
                        <a:pt x="3" y="4"/>
                      </a:moveTo>
                      <a:cubicBezTo>
                        <a:pt x="3" y="7"/>
                        <a:pt x="3" y="10"/>
                        <a:pt x="3" y="13"/>
                      </a:cubicBezTo>
                      <a:cubicBezTo>
                        <a:pt x="4" y="16"/>
                        <a:pt x="3" y="20"/>
                        <a:pt x="3" y="24"/>
                      </a:cubicBezTo>
                      <a:cubicBezTo>
                        <a:pt x="3" y="30"/>
                        <a:pt x="4" y="36"/>
                        <a:pt x="4" y="43"/>
                      </a:cubicBezTo>
                      <a:cubicBezTo>
                        <a:pt x="4" y="50"/>
                        <a:pt x="3" y="57"/>
                        <a:pt x="3" y="64"/>
                      </a:cubicBezTo>
                      <a:cubicBezTo>
                        <a:pt x="3" y="68"/>
                        <a:pt x="4" y="73"/>
                        <a:pt x="4" y="77"/>
                      </a:cubicBezTo>
                      <a:cubicBezTo>
                        <a:pt x="3" y="85"/>
                        <a:pt x="3" y="92"/>
                        <a:pt x="3" y="100"/>
                      </a:cubicBezTo>
                      <a:cubicBezTo>
                        <a:pt x="3" y="106"/>
                        <a:pt x="3" y="113"/>
                        <a:pt x="3" y="119"/>
                      </a:cubicBezTo>
                      <a:cubicBezTo>
                        <a:pt x="3" y="125"/>
                        <a:pt x="3" y="130"/>
                        <a:pt x="3" y="135"/>
                      </a:cubicBezTo>
                      <a:cubicBezTo>
                        <a:pt x="3" y="138"/>
                        <a:pt x="3" y="138"/>
                        <a:pt x="6" y="138"/>
                      </a:cubicBezTo>
                      <a:cubicBezTo>
                        <a:pt x="9" y="138"/>
                        <a:pt x="12" y="138"/>
                        <a:pt x="15" y="138"/>
                      </a:cubicBezTo>
                      <a:cubicBezTo>
                        <a:pt x="20" y="138"/>
                        <a:pt x="26" y="138"/>
                        <a:pt x="31" y="138"/>
                      </a:cubicBezTo>
                      <a:cubicBezTo>
                        <a:pt x="39" y="138"/>
                        <a:pt x="48" y="137"/>
                        <a:pt x="57" y="137"/>
                      </a:cubicBezTo>
                      <a:cubicBezTo>
                        <a:pt x="67" y="137"/>
                        <a:pt x="77" y="137"/>
                        <a:pt x="87" y="137"/>
                      </a:cubicBezTo>
                      <a:cubicBezTo>
                        <a:pt x="89" y="137"/>
                        <a:pt x="90" y="137"/>
                        <a:pt x="91" y="137"/>
                      </a:cubicBezTo>
                      <a:cubicBezTo>
                        <a:pt x="95" y="137"/>
                        <a:pt x="100" y="137"/>
                        <a:pt x="104" y="137"/>
                      </a:cubicBezTo>
                      <a:cubicBezTo>
                        <a:pt x="107" y="137"/>
                        <a:pt x="110" y="137"/>
                        <a:pt x="113" y="137"/>
                      </a:cubicBezTo>
                      <a:cubicBezTo>
                        <a:pt x="117" y="137"/>
                        <a:pt x="120" y="137"/>
                        <a:pt x="123" y="137"/>
                      </a:cubicBezTo>
                      <a:cubicBezTo>
                        <a:pt x="128" y="137"/>
                        <a:pt x="134" y="137"/>
                        <a:pt x="139" y="138"/>
                      </a:cubicBezTo>
                      <a:cubicBezTo>
                        <a:pt x="145" y="138"/>
                        <a:pt x="151" y="138"/>
                        <a:pt x="157" y="138"/>
                      </a:cubicBezTo>
                      <a:cubicBezTo>
                        <a:pt x="162" y="138"/>
                        <a:pt x="168" y="138"/>
                        <a:pt x="174" y="137"/>
                      </a:cubicBezTo>
                      <a:cubicBezTo>
                        <a:pt x="175" y="137"/>
                        <a:pt x="176" y="137"/>
                        <a:pt x="177" y="137"/>
                      </a:cubicBezTo>
                      <a:cubicBezTo>
                        <a:pt x="181" y="137"/>
                        <a:pt x="185" y="137"/>
                        <a:pt x="189" y="137"/>
                      </a:cubicBezTo>
                      <a:cubicBezTo>
                        <a:pt x="190" y="137"/>
                        <a:pt x="191" y="137"/>
                        <a:pt x="191" y="136"/>
                      </a:cubicBezTo>
                      <a:cubicBezTo>
                        <a:pt x="191" y="128"/>
                        <a:pt x="190" y="119"/>
                        <a:pt x="190" y="111"/>
                      </a:cubicBezTo>
                      <a:cubicBezTo>
                        <a:pt x="190" y="105"/>
                        <a:pt x="190" y="100"/>
                        <a:pt x="190" y="94"/>
                      </a:cubicBezTo>
                      <a:cubicBezTo>
                        <a:pt x="190" y="84"/>
                        <a:pt x="190" y="74"/>
                        <a:pt x="190" y="64"/>
                      </a:cubicBezTo>
                      <a:cubicBezTo>
                        <a:pt x="190" y="55"/>
                        <a:pt x="190" y="47"/>
                        <a:pt x="190" y="38"/>
                      </a:cubicBezTo>
                      <a:cubicBezTo>
                        <a:pt x="190" y="33"/>
                        <a:pt x="190" y="29"/>
                        <a:pt x="190" y="24"/>
                      </a:cubicBezTo>
                      <a:cubicBezTo>
                        <a:pt x="190" y="18"/>
                        <a:pt x="190" y="12"/>
                        <a:pt x="190" y="7"/>
                      </a:cubicBezTo>
                      <a:cubicBezTo>
                        <a:pt x="190" y="3"/>
                        <a:pt x="190" y="3"/>
                        <a:pt x="186" y="3"/>
                      </a:cubicBezTo>
                      <a:cubicBezTo>
                        <a:pt x="185" y="3"/>
                        <a:pt x="183" y="3"/>
                        <a:pt x="182" y="3"/>
                      </a:cubicBezTo>
                      <a:cubicBezTo>
                        <a:pt x="171" y="3"/>
                        <a:pt x="160" y="4"/>
                        <a:pt x="148" y="4"/>
                      </a:cubicBezTo>
                      <a:cubicBezTo>
                        <a:pt x="144" y="4"/>
                        <a:pt x="140" y="4"/>
                        <a:pt x="135" y="4"/>
                      </a:cubicBezTo>
                      <a:cubicBezTo>
                        <a:pt x="129" y="4"/>
                        <a:pt x="123" y="4"/>
                        <a:pt x="117" y="4"/>
                      </a:cubicBezTo>
                      <a:cubicBezTo>
                        <a:pt x="114" y="4"/>
                        <a:pt x="111" y="5"/>
                        <a:pt x="108" y="5"/>
                      </a:cubicBezTo>
                      <a:cubicBezTo>
                        <a:pt x="105" y="5"/>
                        <a:pt x="103" y="4"/>
                        <a:pt x="101" y="4"/>
                      </a:cubicBezTo>
                      <a:cubicBezTo>
                        <a:pt x="96" y="4"/>
                        <a:pt x="91" y="4"/>
                        <a:pt x="87" y="4"/>
                      </a:cubicBezTo>
                      <a:cubicBezTo>
                        <a:pt x="83" y="4"/>
                        <a:pt x="79" y="4"/>
                        <a:pt x="75" y="4"/>
                      </a:cubicBezTo>
                      <a:cubicBezTo>
                        <a:pt x="70" y="3"/>
                        <a:pt x="66" y="4"/>
                        <a:pt x="61" y="4"/>
                      </a:cubicBezTo>
                      <a:cubicBezTo>
                        <a:pt x="57" y="4"/>
                        <a:pt x="52" y="3"/>
                        <a:pt x="48" y="3"/>
                      </a:cubicBezTo>
                      <a:cubicBezTo>
                        <a:pt x="43" y="3"/>
                        <a:pt x="38" y="4"/>
                        <a:pt x="33" y="4"/>
                      </a:cubicBezTo>
                      <a:cubicBezTo>
                        <a:pt x="28" y="4"/>
                        <a:pt x="23" y="3"/>
                        <a:pt x="18" y="4"/>
                      </a:cubicBezTo>
                      <a:cubicBezTo>
                        <a:pt x="15" y="4"/>
                        <a:pt x="12" y="4"/>
                        <a:pt x="9" y="4"/>
                      </a:cubicBezTo>
                      <a:cubicBezTo>
                        <a:pt x="7" y="4"/>
                        <a:pt x="5" y="4"/>
                        <a:pt x="3" y="4"/>
                      </a:cubicBezTo>
                      <a:close/>
                    </a:path>
                  </a:pathLst>
                </a:custGeom>
                <a:solidFill>
                  <a:srgbClr val="333399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A" sz="1588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" name="Freeform 614"/>
                <p:cNvSpPr>
                  <a:spLocks noEditPoints="1"/>
                </p:cNvSpPr>
                <p:nvPr/>
              </p:nvSpPr>
              <p:spPr bwMode="auto">
                <a:xfrm>
                  <a:off x="6742997" y="4847182"/>
                  <a:ext cx="682180" cy="312923"/>
                </a:xfrm>
                <a:custGeom>
                  <a:avLst/>
                  <a:gdLst>
                    <a:gd name="T0" fmla="*/ 2147483646 w 194"/>
                    <a:gd name="T1" fmla="*/ 2147483646 h 143"/>
                    <a:gd name="T2" fmla="*/ 2147483646 w 194"/>
                    <a:gd name="T3" fmla="*/ 2147483646 h 143"/>
                    <a:gd name="T4" fmla="*/ 2147483646 w 194"/>
                    <a:gd name="T5" fmla="*/ 2147483646 h 143"/>
                    <a:gd name="T6" fmla="*/ 2147483646 w 194"/>
                    <a:gd name="T7" fmla="*/ 2147483646 h 143"/>
                    <a:gd name="T8" fmla="*/ 2147483646 w 194"/>
                    <a:gd name="T9" fmla="*/ 2147483646 h 143"/>
                    <a:gd name="T10" fmla="*/ 2147483646 w 194"/>
                    <a:gd name="T11" fmla="*/ 2147483646 h 143"/>
                    <a:gd name="T12" fmla="*/ 2147483646 w 194"/>
                    <a:gd name="T13" fmla="*/ 2147483646 h 143"/>
                    <a:gd name="T14" fmla="*/ 2147483646 w 194"/>
                    <a:gd name="T15" fmla="*/ 2147483646 h 143"/>
                    <a:gd name="T16" fmla="*/ 0 w 194"/>
                    <a:gd name="T17" fmla="*/ 2147483646 h 143"/>
                    <a:gd name="T18" fmla="*/ 2147483646 w 194"/>
                    <a:gd name="T19" fmla="*/ 2147483646 h 143"/>
                    <a:gd name="T20" fmla="*/ 2147483646 w 194"/>
                    <a:gd name="T21" fmla="*/ 2147483646 h 143"/>
                    <a:gd name="T22" fmla="*/ 2147483646 w 194"/>
                    <a:gd name="T23" fmla="*/ 2147483646 h 143"/>
                    <a:gd name="T24" fmla="*/ 0 w 194"/>
                    <a:gd name="T25" fmla="*/ 2147483646 h 143"/>
                    <a:gd name="T26" fmla="*/ 0 w 194"/>
                    <a:gd name="T27" fmla="*/ 2147483646 h 143"/>
                    <a:gd name="T28" fmla="*/ 2147483646 w 194"/>
                    <a:gd name="T29" fmla="*/ 0 h 143"/>
                    <a:gd name="T30" fmla="*/ 2147483646 w 194"/>
                    <a:gd name="T31" fmla="*/ 2147483646 h 143"/>
                    <a:gd name="T32" fmla="*/ 2147483646 w 194"/>
                    <a:gd name="T33" fmla="*/ 2147483646 h 143"/>
                    <a:gd name="T34" fmla="*/ 2147483646 w 194"/>
                    <a:gd name="T35" fmla="*/ 2147483646 h 143"/>
                    <a:gd name="T36" fmla="*/ 2147483646 w 194"/>
                    <a:gd name="T37" fmla="*/ 0 h 143"/>
                    <a:gd name="T38" fmla="*/ 2147483646 w 194"/>
                    <a:gd name="T39" fmla="*/ 2147483646 h 143"/>
                    <a:gd name="T40" fmla="*/ 2147483646 w 194"/>
                    <a:gd name="T41" fmla="*/ 2147483646 h 143"/>
                    <a:gd name="T42" fmla="*/ 2147483646 w 194"/>
                    <a:gd name="T43" fmla="*/ 2147483646 h 143"/>
                    <a:gd name="T44" fmla="*/ 2147483646 w 194"/>
                    <a:gd name="T45" fmla="*/ 2147483646 h 143"/>
                    <a:gd name="T46" fmla="*/ 2147483646 w 194"/>
                    <a:gd name="T47" fmla="*/ 2147483646 h 143"/>
                    <a:gd name="T48" fmla="*/ 2147483646 w 194"/>
                    <a:gd name="T49" fmla="*/ 2147483646 h 143"/>
                    <a:gd name="T50" fmla="*/ 2147483646 w 194"/>
                    <a:gd name="T51" fmla="*/ 2147483646 h 143"/>
                    <a:gd name="T52" fmla="*/ 2147483646 w 194"/>
                    <a:gd name="T53" fmla="*/ 2147483646 h 143"/>
                    <a:gd name="T54" fmla="*/ 2147483646 w 194"/>
                    <a:gd name="T55" fmla="*/ 2147483646 h 143"/>
                    <a:gd name="T56" fmla="*/ 2147483646 w 194"/>
                    <a:gd name="T57" fmla="*/ 2147483646 h 143"/>
                    <a:gd name="T58" fmla="*/ 2147483646 w 194"/>
                    <a:gd name="T59" fmla="*/ 2147483646 h 143"/>
                    <a:gd name="T60" fmla="*/ 2147483646 w 194"/>
                    <a:gd name="T61" fmla="*/ 2147483646 h 143"/>
                    <a:gd name="T62" fmla="*/ 2147483646 w 194"/>
                    <a:gd name="T63" fmla="*/ 2147483646 h 143"/>
                    <a:gd name="T64" fmla="*/ 2147483646 w 194"/>
                    <a:gd name="T65" fmla="*/ 2147483646 h 143"/>
                    <a:gd name="T66" fmla="*/ 2147483646 w 194"/>
                    <a:gd name="T67" fmla="*/ 2147483646 h 143"/>
                    <a:gd name="T68" fmla="*/ 2147483646 w 194"/>
                    <a:gd name="T69" fmla="*/ 2147483646 h 143"/>
                    <a:gd name="T70" fmla="*/ 2147483646 w 194"/>
                    <a:gd name="T71" fmla="*/ 2147483646 h 143"/>
                    <a:gd name="T72" fmla="*/ 2147483646 w 194"/>
                    <a:gd name="T73" fmla="*/ 2147483646 h 143"/>
                    <a:gd name="T74" fmla="*/ 2147483646 w 194"/>
                    <a:gd name="T75" fmla="*/ 2147483646 h 143"/>
                    <a:gd name="T76" fmla="*/ 2147483646 w 194"/>
                    <a:gd name="T77" fmla="*/ 2147483646 h 143"/>
                    <a:gd name="T78" fmla="*/ 2147483646 w 194"/>
                    <a:gd name="T79" fmla="*/ 2147483646 h 143"/>
                    <a:gd name="T80" fmla="*/ 2147483646 w 194"/>
                    <a:gd name="T81" fmla="*/ 2147483646 h 143"/>
                    <a:gd name="T82" fmla="*/ 2147483646 w 194"/>
                    <a:gd name="T83" fmla="*/ 2147483646 h 143"/>
                    <a:gd name="T84" fmla="*/ 2147483646 w 194"/>
                    <a:gd name="T85" fmla="*/ 2147483646 h 143"/>
                    <a:gd name="T86" fmla="*/ 2147483646 w 194"/>
                    <a:gd name="T87" fmla="*/ 2147483646 h 143"/>
                    <a:gd name="T88" fmla="*/ 2147483646 w 194"/>
                    <a:gd name="T89" fmla="*/ 2147483646 h 143"/>
                    <a:gd name="T90" fmla="*/ 2147483646 w 194"/>
                    <a:gd name="T91" fmla="*/ 2147483646 h 143"/>
                    <a:gd name="T92" fmla="*/ 2147483646 w 194"/>
                    <a:gd name="T93" fmla="*/ 2147483646 h 143"/>
                    <a:gd name="T94" fmla="*/ 2147483646 w 194"/>
                    <a:gd name="T95" fmla="*/ 2147483646 h 143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0" t="0" r="r" b="b"/>
                  <a:pathLst>
                    <a:path w="194" h="143">
                      <a:moveTo>
                        <a:pt x="194" y="141"/>
                      </a:moveTo>
                      <a:cubicBezTo>
                        <a:pt x="190" y="141"/>
                        <a:pt x="187" y="140"/>
                        <a:pt x="183" y="140"/>
                      </a:cubicBezTo>
                      <a:cubicBezTo>
                        <a:pt x="178" y="140"/>
                        <a:pt x="172" y="140"/>
                        <a:pt x="167" y="141"/>
                      </a:cubicBezTo>
                      <a:cubicBezTo>
                        <a:pt x="162" y="141"/>
                        <a:pt x="157" y="141"/>
                        <a:pt x="152" y="141"/>
                      </a:cubicBezTo>
                      <a:cubicBezTo>
                        <a:pt x="147" y="141"/>
                        <a:pt x="142" y="141"/>
                        <a:pt x="137" y="141"/>
                      </a:cubicBezTo>
                      <a:cubicBezTo>
                        <a:pt x="133" y="141"/>
                        <a:pt x="129" y="140"/>
                        <a:pt x="125" y="140"/>
                      </a:cubicBezTo>
                      <a:cubicBezTo>
                        <a:pt x="121" y="140"/>
                        <a:pt x="116" y="140"/>
                        <a:pt x="112" y="140"/>
                      </a:cubicBezTo>
                      <a:cubicBezTo>
                        <a:pt x="109" y="140"/>
                        <a:pt x="105" y="140"/>
                        <a:pt x="102" y="140"/>
                      </a:cubicBezTo>
                      <a:cubicBezTo>
                        <a:pt x="97" y="140"/>
                        <a:pt x="93" y="140"/>
                        <a:pt x="88" y="140"/>
                      </a:cubicBezTo>
                      <a:cubicBezTo>
                        <a:pt x="82" y="139"/>
                        <a:pt x="75" y="139"/>
                        <a:pt x="69" y="139"/>
                      </a:cubicBezTo>
                      <a:cubicBezTo>
                        <a:pt x="67" y="139"/>
                        <a:pt x="65" y="140"/>
                        <a:pt x="63" y="140"/>
                      </a:cubicBezTo>
                      <a:cubicBezTo>
                        <a:pt x="57" y="140"/>
                        <a:pt x="50" y="140"/>
                        <a:pt x="44" y="140"/>
                      </a:cubicBezTo>
                      <a:cubicBezTo>
                        <a:pt x="39" y="140"/>
                        <a:pt x="34" y="141"/>
                        <a:pt x="29" y="141"/>
                      </a:cubicBezTo>
                      <a:cubicBezTo>
                        <a:pt x="23" y="141"/>
                        <a:pt x="18" y="141"/>
                        <a:pt x="13" y="141"/>
                      </a:cubicBezTo>
                      <a:cubicBezTo>
                        <a:pt x="10" y="140"/>
                        <a:pt x="7" y="140"/>
                        <a:pt x="4" y="142"/>
                      </a:cubicBezTo>
                      <a:cubicBezTo>
                        <a:pt x="4" y="142"/>
                        <a:pt x="3" y="142"/>
                        <a:pt x="2" y="142"/>
                      </a:cubicBezTo>
                      <a:cubicBezTo>
                        <a:pt x="1" y="143"/>
                        <a:pt x="0" y="142"/>
                        <a:pt x="0" y="140"/>
                      </a:cubicBezTo>
                      <a:cubicBezTo>
                        <a:pt x="0" y="134"/>
                        <a:pt x="0" y="128"/>
                        <a:pt x="0" y="122"/>
                      </a:cubicBezTo>
                      <a:cubicBezTo>
                        <a:pt x="0" y="116"/>
                        <a:pt x="1" y="109"/>
                        <a:pt x="1" y="103"/>
                      </a:cubicBezTo>
                      <a:cubicBezTo>
                        <a:pt x="1" y="98"/>
                        <a:pt x="1" y="94"/>
                        <a:pt x="1" y="89"/>
                      </a:cubicBezTo>
                      <a:cubicBezTo>
                        <a:pt x="1" y="84"/>
                        <a:pt x="0" y="80"/>
                        <a:pt x="0" y="75"/>
                      </a:cubicBezTo>
                      <a:cubicBezTo>
                        <a:pt x="1" y="69"/>
                        <a:pt x="1" y="63"/>
                        <a:pt x="1" y="57"/>
                      </a:cubicBezTo>
                      <a:cubicBezTo>
                        <a:pt x="1" y="55"/>
                        <a:pt x="0" y="53"/>
                        <a:pt x="0" y="51"/>
                      </a:cubicBezTo>
                      <a:cubicBezTo>
                        <a:pt x="0" y="41"/>
                        <a:pt x="1" y="31"/>
                        <a:pt x="1" y="20"/>
                      </a:cubicBezTo>
                      <a:cubicBezTo>
                        <a:pt x="1" y="17"/>
                        <a:pt x="0" y="13"/>
                        <a:pt x="0" y="10"/>
                      </a:cubicBezTo>
                      <a:cubicBezTo>
                        <a:pt x="0" y="8"/>
                        <a:pt x="0" y="7"/>
                        <a:pt x="0" y="5"/>
                      </a:cubicBezTo>
                      <a:cubicBezTo>
                        <a:pt x="0" y="4"/>
                        <a:pt x="0" y="4"/>
                        <a:pt x="0" y="3"/>
                      </a:cubicBezTo>
                      <a:cubicBezTo>
                        <a:pt x="0" y="3"/>
                        <a:pt x="0" y="2"/>
                        <a:pt x="0" y="1"/>
                      </a:cubicBez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6" y="0"/>
                        <a:pt x="10" y="0"/>
                        <a:pt x="14" y="0"/>
                      </a:cubicBezTo>
                      <a:cubicBezTo>
                        <a:pt x="22" y="0"/>
                        <a:pt x="29" y="1"/>
                        <a:pt x="37" y="1"/>
                      </a:cubicBezTo>
                      <a:cubicBezTo>
                        <a:pt x="42" y="1"/>
                        <a:pt x="47" y="1"/>
                        <a:pt x="52" y="1"/>
                      </a:cubicBezTo>
                      <a:cubicBezTo>
                        <a:pt x="55" y="1"/>
                        <a:pt x="57" y="1"/>
                        <a:pt x="60" y="1"/>
                      </a:cubicBezTo>
                      <a:cubicBezTo>
                        <a:pt x="67" y="1"/>
                        <a:pt x="74" y="1"/>
                        <a:pt x="81" y="1"/>
                      </a:cubicBezTo>
                      <a:cubicBezTo>
                        <a:pt x="86" y="1"/>
                        <a:pt x="91" y="2"/>
                        <a:pt x="96" y="2"/>
                      </a:cubicBezTo>
                      <a:cubicBezTo>
                        <a:pt x="103" y="2"/>
                        <a:pt x="111" y="2"/>
                        <a:pt x="119" y="2"/>
                      </a:cubicBezTo>
                      <a:cubicBezTo>
                        <a:pt x="125" y="1"/>
                        <a:pt x="132" y="1"/>
                        <a:pt x="139" y="1"/>
                      </a:cubicBezTo>
                      <a:cubicBezTo>
                        <a:pt x="150" y="1"/>
                        <a:pt x="160" y="1"/>
                        <a:pt x="170" y="0"/>
                      </a:cubicBezTo>
                      <a:cubicBezTo>
                        <a:pt x="175" y="0"/>
                        <a:pt x="180" y="0"/>
                        <a:pt x="185" y="0"/>
                      </a:cubicBezTo>
                      <a:cubicBezTo>
                        <a:pt x="187" y="0"/>
                        <a:pt x="189" y="1"/>
                        <a:pt x="191" y="1"/>
                      </a:cubicBezTo>
                      <a:cubicBezTo>
                        <a:pt x="193" y="1"/>
                        <a:pt x="194" y="2"/>
                        <a:pt x="193" y="4"/>
                      </a:cubicBezTo>
                      <a:cubicBezTo>
                        <a:pt x="193" y="7"/>
                        <a:pt x="193" y="10"/>
                        <a:pt x="193" y="14"/>
                      </a:cubicBezTo>
                      <a:cubicBezTo>
                        <a:pt x="193" y="19"/>
                        <a:pt x="192" y="25"/>
                        <a:pt x="192" y="31"/>
                      </a:cubicBezTo>
                      <a:cubicBezTo>
                        <a:pt x="192" y="38"/>
                        <a:pt x="193" y="46"/>
                        <a:pt x="193" y="53"/>
                      </a:cubicBezTo>
                      <a:cubicBezTo>
                        <a:pt x="193" y="59"/>
                        <a:pt x="192" y="65"/>
                        <a:pt x="192" y="71"/>
                      </a:cubicBezTo>
                      <a:cubicBezTo>
                        <a:pt x="192" y="77"/>
                        <a:pt x="193" y="83"/>
                        <a:pt x="193" y="90"/>
                      </a:cubicBezTo>
                      <a:cubicBezTo>
                        <a:pt x="193" y="96"/>
                        <a:pt x="193" y="103"/>
                        <a:pt x="193" y="109"/>
                      </a:cubicBezTo>
                      <a:cubicBezTo>
                        <a:pt x="193" y="112"/>
                        <a:pt x="193" y="114"/>
                        <a:pt x="193" y="117"/>
                      </a:cubicBezTo>
                      <a:cubicBezTo>
                        <a:pt x="193" y="121"/>
                        <a:pt x="193" y="126"/>
                        <a:pt x="193" y="130"/>
                      </a:cubicBezTo>
                      <a:cubicBezTo>
                        <a:pt x="193" y="132"/>
                        <a:pt x="193" y="135"/>
                        <a:pt x="194" y="137"/>
                      </a:cubicBezTo>
                      <a:cubicBezTo>
                        <a:pt x="194" y="139"/>
                        <a:pt x="194" y="140"/>
                        <a:pt x="194" y="141"/>
                      </a:cubicBezTo>
                      <a:close/>
                      <a:moveTo>
                        <a:pt x="3" y="4"/>
                      </a:moveTo>
                      <a:cubicBezTo>
                        <a:pt x="3" y="7"/>
                        <a:pt x="3" y="10"/>
                        <a:pt x="3" y="13"/>
                      </a:cubicBezTo>
                      <a:cubicBezTo>
                        <a:pt x="4" y="16"/>
                        <a:pt x="3" y="20"/>
                        <a:pt x="3" y="24"/>
                      </a:cubicBezTo>
                      <a:cubicBezTo>
                        <a:pt x="3" y="30"/>
                        <a:pt x="4" y="36"/>
                        <a:pt x="4" y="43"/>
                      </a:cubicBezTo>
                      <a:cubicBezTo>
                        <a:pt x="4" y="50"/>
                        <a:pt x="3" y="57"/>
                        <a:pt x="3" y="64"/>
                      </a:cubicBezTo>
                      <a:cubicBezTo>
                        <a:pt x="3" y="68"/>
                        <a:pt x="4" y="73"/>
                        <a:pt x="4" y="77"/>
                      </a:cubicBezTo>
                      <a:cubicBezTo>
                        <a:pt x="3" y="85"/>
                        <a:pt x="3" y="92"/>
                        <a:pt x="3" y="100"/>
                      </a:cubicBezTo>
                      <a:cubicBezTo>
                        <a:pt x="3" y="106"/>
                        <a:pt x="3" y="113"/>
                        <a:pt x="3" y="119"/>
                      </a:cubicBezTo>
                      <a:cubicBezTo>
                        <a:pt x="3" y="125"/>
                        <a:pt x="3" y="130"/>
                        <a:pt x="3" y="135"/>
                      </a:cubicBezTo>
                      <a:cubicBezTo>
                        <a:pt x="3" y="138"/>
                        <a:pt x="3" y="138"/>
                        <a:pt x="6" y="138"/>
                      </a:cubicBezTo>
                      <a:cubicBezTo>
                        <a:pt x="9" y="138"/>
                        <a:pt x="12" y="138"/>
                        <a:pt x="15" y="138"/>
                      </a:cubicBezTo>
                      <a:cubicBezTo>
                        <a:pt x="20" y="138"/>
                        <a:pt x="26" y="138"/>
                        <a:pt x="31" y="138"/>
                      </a:cubicBezTo>
                      <a:cubicBezTo>
                        <a:pt x="39" y="138"/>
                        <a:pt x="48" y="137"/>
                        <a:pt x="57" y="137"/>
                      </a:cubicBezTo>
                      <a:cubicBezTo>
                        <a:pt x="67" y="137"/>
                        <a:pt x="77" y="137"/>
                        <a:pt x="87" y="137"/>
                      </a:cubicBezTo>
                      <a:cubicBezTo>
                        <a:pt x="89" y="137"/>
                        <a:pt x="90" y="137"/>
                        <a:pt x="91" y="137"/>
                      </a:cubicBezTo>
                      <a:cubicBezTo>
                        <a:pt x="95" y="137"/>
                        <a:pt x="100" y="137"/>
                        <a:pt x="104" y="137"/>
                      </a:cubicBezTo>
                      <a:cubicBezTo>
                        <a:pt x="107" y="137"/>
                        <a:pt x="110" y="137"/>
                        <a:pt x="113" y="137"/>
                      </a:cubicBezTo>
                      <a:cubicBezTo>
                        <a:pt x="117" y="137"/>
                        <a:pt x="120" y="137"/>
                        <a:pt x="123" y="137"/>
                      </a:cubicBezTo>
                      <a:cubicBezTo>
                        <a:pt x="128" y="137"/>
                        <a:pt x="134" y="137"/>
                        <a:pt x="139" y="138"/>
                      </a:cubicBezTo>
                      <a:cubicBezTo>
                        <a:pt x="145" y="138"/>
                        <a:pt x="151" y="138"/>
                        <a:pt x="157" y="138"/>
                      </a:cubicBezTo>
                      <a:cubicBezTo>
                        <a:pt x="162" y="138"/>
                        <a:pt x="168" y="138"/>
                        <a:pt x="174" y="137"/>
                      </a:cubicBezTo>
                      <a:cubicBezTo>
                        <a:pt x="175" y="137"/>
                        <a:pt x="176" y="137"/>
                        <a:pt x="177" y="137"/>
                      </a:cubicBezTo>
                      <a:cubicBezTo>
                        <a:pt x="181" y="137"/>
                        <a:pt x="185" y="137"/>
                        <a:pt x="189" y="137"/>
                      </a:cubicBezTo>
                      <a:cubicBezTo>
                        <a:pt x="190" y="137"/>
                        <a:pt x="191" y="137"/>
                        <a:pt x="191" y="136"/>
                      </a:cubicBezTo>
                      <a:cubicBezTo>
                        <a:pt x="191" y="128"/>
                        <a:pt x="190" y="119"/>
                        <a:pt x="190" y="111"/>
                      </a:cubicBezTo>
                      <a:cubicBezTo>
                        <a:pt x="190" y="105"/>
                        <a:pt x="190" y="100"/>
                        <a:pt x="190" y="94"/>
                      </a:cubicBezTo>
                      <a:cubicBezTo>
                        <a:pt x="190" y="84"/>
                        <a:pt x="190" y="74"/>
                        <a:pt x="190" y="64"/>
                      </a:cubicBezTo>
                      <a:cubicBezTo>
                        <a:pt x="190" y="55"/>
                        <a:pt x="190" y="47"/>
                        <a:pt x="190" y="38"/>
                      </a:cubicBezTo>
                      <a:cubicBezTo>
                        <a:pt x="190" y="33"/>
                        <a:pt x="190" y="29"/>
                        <a:pt x="190" y="24"/>
                      </a:cubicBezTo>
                      <a:cubicBezTo>
                        <a:pt x="190" y="18"/>
                        <a:pt x="190" y="12"/>
                        <a:pt x="190" y="7"/>
                      </a:cubicBezTo>
                      <a:cubicBezTo>
                        <a:pt x="190" y="3"/>
                        <a:pt x="190" y="3"/>
                        <a:pt x="186" y="3"/>
                      </a:cubicBezTo>
                      <a:cubicBezTo>
                        <a:pt x="185" y="3"/>
                        <a:pt x="183" y="3"/>
                        <a:pt x="182" y="3"/>
                      </a:cubicBezTo>
                      <a:cubicBezTo>
                        <a:pt x="171" y="3"/>
                        <a:pt x="160" y="4"/>
                        <a:pt x="148" y="4"/>
                      </a:cubicBezTo>
                      <a:cubicBezTo>
                        <a:pt x="144" y="4"/>
                        <a:pt x="140" y="4"/>
                        <a:pt x="135" y="4"/>
                      </a:cubicBezTo>
                      <a:cubicBezTo>
                        <a:pt x="129" y="4"/>
                        <a:pt x="123" y="4"/>
                        <a:pt x="117" y="4"/>
                      </a:cubicBezTo>
                      <a:cubicBezTo>
                        <a:pt x="114" y="4"/>
                        <a:pt x="111" y="5"/>
                        <a:pt x="108" y="5"/>
                      </a:cubicBezTo>
                      <a:cubicBezTo>
                        <a:pt x="105" y="5"/>
                        <a:pt x="103" y="4"/>
                        <a:pt x="101" y="4"/>
                      </a:cubicBezTo>
                      <a:cubicBezTo>
                        <a:pt x="96" y="4"/>
                        <a:pt x="91" y="4"/>
                        <a:pt x="87" y="4"/>
                      </a:cubicBezTo>
                      <a:cubicBezTo>
                        <a:pt x="83" y="4"/>
                        <a:pt x="79" y="4"/>
                        <a:pt x="75" y="4"/>
                      </a:cubicBezTo>
                      <a:cubicBezTo>
                        <a:pt x="70" y="3"/>
                        <a:pt x="66" y="4"/>
                        <a:pt x="61" y="4"/>
                      </a:cubicBezTo>
                      <a:cubicBezTo>
                        <a:pt x="57" y="4"/>
                        <a:pt x="52" y="3"/>
                        <a:pt x="48" y="3"/>
                      </a:cubicBezTo>
                      <a:cubicBezTo>
                        <a:pt x="43" y="3"/>
                        <a:pt x="38" y="4"/>
                        <a:pt x="33" y="4"/>
                      </a:cubicBezTo>
                      <a:cubicBezTo>
                        <a:pt x="28" y="4"/>
                        <a:pt x="23" y="3"/>
                        <a:pt x="18" y="4"/>
                      </a:cubicBezTo>
                      <a:cubicBezTo>
                        <a:pt x="15" y="4"/>
                        <a:pt x="12" y="4"/>
                        <a:pt x="9" y="4"/>
                      </a:cubicBezTo>
                      <a:cubicBezTo>
                        <a:pt x="7" y="4"/>
                        <a:pt x="5" y="4"/>
                        <a:pt x="3" y="4"/>
                      </a:cubicBezTo>
                      <a:close/>
                    </a:path>
                  </a:pathLst>
                </a:custGeom>
                <a:solidFill>
                  <a:srgbClr val="333399"/>
                </a:solidFill>
                <a:ln w="9525">
                  <a:solidFill>
                    <a:srgbClr val="007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CA" sz="1588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78" name="Picture 77"/>
                <p:cNvPicPr>
                  <a:picLocks noChangeAspect="1"/>
                </p:cNvPicPr>
                <p:nvPr/>
              </p:nvPicPr>
              <p:blipFill>
                <a:blip r:embed="rId6" cstate="email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820000">
                  <a:off x="7434373" y="4978199"/>
                  <a:ext cx="192145" cy="100535"/>
                </a:xfrm>
                <a:prstGeom prst="rect">
                  <a:avLst/>
                </a:prstGeom>
              </p:spPr>
            </p:pic>
            <p:pic>
              <p:nvPicPr>
                <p:cNvPr id="79" name="Picture 78"/>
                <p:cNvPicPr>
                  <a:picLocks noChangeAspect="1"/>
                </p:cNvPicPr>
                <p:nvPr/>
              </p:nvPicPr>
              <p:blipFill>
                <a:blip r:embed="rId7" cstate="email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4620000">
                  <a:off x="7035383" y="4718930"/>
                  <a:ext cx="158797" cy="83086"/>
                </a:xfrm>
                <a:prstGeom prst="rect">
                  <a:avLst/>
                </a:prstGeom>
              </p:spPr>
            </p:pic>
            <p:pic>
              <p:nvPicPr>
                <p:cNvPr id="80" name="Picture 79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10620000">
                  <a:off x="7464036" y="4434344"/>
                  <a:ext cx="402225" cy="45719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2" name="Group 51"/>
            <p:cNvGrpSpPr/>
            <p:nvPr/>
          </p:nvGrpSpPr>
          <p:grpSpPr>
            <a:xfrm>
              <a:off x="5791200" y="1905000"/>
              <a:ext cx="1028123" cy="1213742"/>
              <a:chOff x="7825197" y="3327111"/>
              <a:chExt cx="2003519" cy="2365240"/>
            </a:xfrm>
          </p:grpSpPr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9" cstate="email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48971" y="4867947"/>
                <a:ext cx="662022" cy="824404"/>
              </a:xfrm>
              <a:prstGeom prst="rect">
                <a:avLst/>
              </a:prstGeom>
              <a:solidFill>
                <a:schemeClr val="accent2"/>
              </a:solidFill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0" cstate="email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25197" y="3327111"/>
                <a:ext cx="637038" cy="766112"/>
              </a:xfrm>
              <a:prstGeom prst="rect">
                <a:avLst/>
              </a:prstGeom>
              <a:solidFill>
                <a:schemeClr val="accent2"/>
              </a:solidFill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11" cstate="email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26878" y="4533898"/>
                <a:ext cx="601838" cy="749458"/>
              </a:xfrm>
              <a:prstGeom prst="rect">
                <a:avLst/>
              </a:prstGeom>
              <a:solidFill>
                <a:schemeClr val="accent2"/>
              </a:solidFill>
            </p:spPr>
          </p:pic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12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8312468" y="3849630"/>
                <a:ext cx="1292464" cy="951058"/>
              </a:xfrm>
              <a:prstGeom prst="rect">
                <a:avLst/>
              </a:prstGeom>
            </p:spPr>
          </p:pic>
          <p:sp>
            <p:nvSpPr>
              <p:cNvPr id="47" name="Explosion 1 46"/>
              <p:cNvSpPr/>
              <p:nvPr/>
            </p:nvSpPr>
            <p:spPr bwMode="auto">
              <a:xfrm>
                <a:off x="8327053" y="4539761"/>
                <a:ext cx="220535" cy="140526"/>
              </a:xfrm>
              <a:prstGeom prst="irregularSeal1">
                <a:avLst/>
              </a:prstGeom>
              <a:solidFill>
                <a:schemeClr val="accent6"/>
              </a:solidFill>
              <a:ln w="635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0341" tIns="40341" rIns="40341" bIns="403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5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A1DE">
                        <a:lumMod val="75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`</a:t>
                </a:r>
              </a:p>
            </p:txBody>
          </p:sp>
          <p:sp>
            <p:nvSpPr>
              <p:cNvPr id="48" name="Explosion 1 47"/>
              <p:cNvSpPr/>
              <p:nvPr/>
            </p:nvSpPr>
            <p:spPr bwMode="auto">
              <a:xfrm>
                <a:off x="9372600" y="4419600"/>
                <a:ext cx="220535" cy="140526"/>
              </a:xfrm>
              <a:prstGeom prst="irregularSeal1">
                <a:avLst/>
              </a:prstGeom>
              <a:solidFill>
                <a:schemeClr val="accent6"/>
              </a:solidFill>
              <a:ln w="635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0341" tIns="40341" rIns="40341" bIns="403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059" b="0" i="0" u="none" strike="noStrike" kern="1200" cap="none" spc="0" normalizeH="0" baseline="0" noProof="0" dirty="0">
                  <a:ln>
                    <a:noFill/>
                  </a:ln>
                  <a:solidFill>
                    <a:srgbClr val="00A1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Explosion 1 48"/>
              <p:cNvSpPr/>
              <p:nvPr/>
            </p:nvSpPr>
            <p:spPr bwMode="auto">
              <a:xfrm>
                <a:off x="8406790" y="3870480"/>
                <a:ext cx="220535" cy="140526"/>
              </a:xfrm>
              <a:prstGeom prst="irregularSeal1">
                <a:avLst/>
              </a:prstGeom>
              <a:solidFill>
                <a:schemeClr val="accent6"/>
              </a:solidFill>
              <a:ln w="635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0341" tIns="40341" rIns="40341" bIns="403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059" b="0" i="0" u="none" strike="noStrike" kern="1200" cap="none" spc="0" normalizeH="0" baseline="0" noProof="0" dirty="0">
                  <a:ln>
                    <a:noFill/>
                  </a:ln>
                  <a:solidFill>
                    <a:srgbClr val="00A1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Explosion 1 49"/>
              <p:cNvSpPr/>
              <p:nvPr/>
            </p:nvSpPr>
            <p:spPr bwMode="auto">
              <a:xfrm>
                <a:off x="9125689" y="4361138"/>
                <a:ext cx="220535" cy="140526"/>
              </a:xfrm>
              <a:prstGeom prst="irregularSeal1">
                <a:avLst/>
              </a:prstGeom>
              <a:solidFill>
                <a:schemeClr val="accent6"/>
              </a:solidFill>
              <a:ln w="635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0341" tIns="40341" rIns="40341" bIns="403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059" b="0" i="0" u="none" strike="noStrike" kern="1200" cap="none" spc="0" normalizeH="0" baseline="0" noProof="0" dirty="0">
                  <a:ln>
                    <a:noFill/>
                  </a:ln>
                  <a:solidFill>
                    <a:srgbClr val="00A1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3957055" y="2780735"/>
              <a:ext cx="1072145" cy="1181665"/>
              <a:chOff x="5681727" y="2238246"/>
              <a:chExt cx="1726702" cy="1903082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5681727" y="2238246"/>
                <a:ext cx="1726702" cy="1903082"/>
                <a:chOff x="5779332" y="2227995"/>
                <a:chExt cx="1726702" cy="1903082"/>
              </a:xfrm>
            </p:grpSpPr>
            <p:pic>
              <p:nvPicPr>
                <p:cNvPr id="22" name="Picture 21"/>
                <p:cNvPicPr>
                  <a:picLocks noChangeAspect="1"/>
                </p:cNvPicPr>
                <p:nvPr/>
              </p:nvPicPr>
              <p:blipFill>
                <a:blip r:embed="rId13" cstate="email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78376" y="3370995"/>
                  <a:ext cx="601838" cy="760082"/>
                </a:xfrm>
                <a:prstGeom prst="rect">
                  <a:avLst/>
                </a:prstGeom>
              </p:spPr>
            </p:pic>
            <p:pic>
              <p:nvPicPr>
                <p:cNvPr id="21" name="Picture 20"/>
                <p:cNvPicPr>
                  <a:picLocks noChangeAspect="1"/>
                </p:cNvPicPr>
                <p:nvPr/>
              </p:nvPicPr>
              <p:blipFill>
                <a:blip r:embed="rId14" cstate="email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26908" y="3187300"/>
                  <a:ext cx="579126" cy="706339"/>
                </a:xfrm>
                <a:prstGeom prst="rect">
                  <a:avLst/>
                </a:prstGeom>
              </p:spPr>
            </p:pic>
            <p:grpSp>
              <p:nvGrpSpPr>
                <p:cNvPr id="19" name="Group 18"/>
                <p:cNvGrpSpPr/>
                <p:nvPr/>
              </p:nvGrpSpPr>
              <p:grpSpPr>
                <a:xfrm>
                  <a:off x="6055905" y="2486952"/>
                  <a:ext cx="1280697" cy="938344"/>
                  <a:chOff x="5860258" y="3062764"/>
                  <a:chExt cx="1280697" cy="938344"/>
                </a:xfrm>
              </p:grpSpPr>
              <p:grpSp>
                <p:nvGrpSpPr>
                  <p:cNvPr id="16" name="Group 15"/>
                  <p:cNvGrpSpPr/>
                  <p:nvPr/>
                </p:nvGrpSpPr>
                <p:grpSpPr>
                  <a:xfrm>
                    <a:off x="6136914" y="3062764"/>
                    <a:ext cx="1004041" cy="692154"/>
                    <a:chOff x="5673771" y="2666988"/>
                    <a:chExt cx="2152250" cy="1483687"/>
                  </a:xfrm>
                </p:grpSpPr>
                <p:sp>
                  <p:nvSpPr>
                    <p:cNvPr id="8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5673771" y="2666988"/>
                      <a:ext cx="1100881" cy="592581"/>
                    </a:xfrm>
                    <a:custGeom>
                      <a:avLst/>
                      <a:gdLst>
                        <a:gd name="T0" fmla="*/ 371 w 379"/>
                        <a:gd name="T1" fmla="*/ 382 h 943"/>
                        <a:gd name="T2" fmla="*/ 372 w 379"/>
                        <a:gd name="T3" fmla="*/ 446 h 943"/>
                        <a:gd name="T4" fmla="*/ 372 w 379"/>
                        <a:gd name="T5" fmla="*/ 605 h 943"/>
                        <a:gd name="T6" fmla="*/ 372 w 379"/>
                        <a:gd name="T7" fmla="*/ 612 h 943"/>
                        <a:gd name="T8" fmla="*/ 373 w 379"/>
                        <a:gd name="T9" fmla="*/ 656 h 943"/>
                        <a:gd name="T10" fmla="*/ 373 w 379"/>
                        <a:gd name="T11" fmla="*/ 790 h 943"/>
                        <a:gd name="T12" fmla="*/ 374 w 379"/>
                        <a:gd name="T13" fmla="*/ 905 h 943"/>
                        <a:gd name="T14" fmla="*/ 375 w 379"/>
                        <a:gd name="T15" fmla="*/ 873 h 943"/>
                        <a:gd name="T16" fmla="*/ 375 w 379"/>
                        <a:gd name="T17" fmla="*/ 862 h 943"/>
                        <a:gd name="T18" fmla="*/ 375 w 379"/>
                        <a:gd name="T19" fmla="*/ 786 h 943"/>
                        <a:gd name="T20" fmla="*/ 374 w 379"/>
                        <a:gd name="T21" fmla="*/ 591 h 943"/>
                        <a:gd name="T22" fmla="*/ 374 w 379"/>
                        <a:gd name="T23" fmla="*/ 493 h 943"/>
                        <a:gd name="T24" fmla="*/ 373 w 379"/>
                        <a:gd name="T25" fmla="*/ 441 h 943"/>
                        <a:gd name="T26" fmla="*/ 374 w 379"/>
                        <a:gd name="T27" fmla="*/ 2 h 943"/>
                        <a:gd name="T28" fmla="*/ 372 w 379"/>
                        <a:gd name="T29" fmla="*/ 0 h 943"/>
                        <a:gd name="T30" fmla="*/ 305 w 379"/>
                        <a:gd name="T31" fmla="*/ 1 h 943"/>
                        <a:gd name="T32" fmla="*/ 231 w 379"/>
                        <a:gd name="T33" fmla="*/ 1 h 943"/>
                        <a:gd name="T34" fmla="*/ 2 w 379"/>
                        <a:gd name="T35" fmla="*/ 2 h 943"/>
                        <a:gd name="T36" fmla="*/ 2 w 379"/>
                        <a:gd name="T37" fmla="*/ 2 h 943"/>
                        <a:gd name="T38" fmla="*/ 2 w 379"/>
                        <a:gd name="T39" fmla="*/ 187 h 943"/>
                        <a:gd name="T40" fmla="*/ 2 w 379"/>
                        <a:gd name="T41" fmla="*/ 557 h 943"/>
                        <a:gd name="T42" fmla="*/ 3 w 379"/>
                        <a:gd name="T43" fmla="*/ 905 h 943"/>
                        <a:gd name="T44" fmla="*/ 2 w 379"/>
                        <a:gd name="T45" fmla="*/ 941 h 943"/>
                        <a:gd name="T46" fmla="*/ 272 w 379"/>
                        <a:gd name="T47" fmla="*/ 942 h 943"/>
                        <a:gd name="T48" fmla="*/ 307 w 379"/>
                        <a:gd name="T49" fmla="*/ 941 h 943"/>
                        <a:gd name="T50" fmla="*/ 325 w 379"/>
                        <a:gd name="T51" fmla="*/ 941 h 943"/>
                        <a:gd name="T52" fmla="*/ 334 w 379"/>
                        <a:gd name="T53" fmla="*/ 941 h 943"/>
                        <a:gd name="T54" fmla="*/ 360 w 379"/>
                        <a:gd name="T55" fmla="*/ 942 h 943"/>
                        <a:gd name="T56" fmla="*/ 372 w 379"/>
                        <a:gd name="T57" fmla="*/ 942 h 943"/>
                        <a:gd name="T58" fmla="*/ 369 w 379"/>
                        <a:gd name="T59" fmla="*/ 941 h 943"/>
                        <a:gd name="T60" fmla="*/ 346 w 379"/>
                        <a:gd name="T61" fmla="*/ 939 h 943"/>
                        <a:gd name="T62" fmla="*/ 329 w 379"/>
                        <a:gd name="T63" fmla="*/ 939 h 943"/>
                        <a:gd name="T64" fmla="*/ 318 w 379"/>
                        <a:gd name="T65" fmla="*/ 939 h 943"/>
                        <a:gd name="T66" fmla="*/ 233 w 379"/>
                        <a:gd name="T67" fmla="*/ 940 h 943"/>
                        <a:gd name="T68" fmla="*/ 204 w 379"/>
                        <a:gd name="T69" fmla="*/ 939 h 943"/>
                        <a:gd name="T70" fmla="*/ 146 w 379"/>
                        <a:gd name="T71" fmla="*/ 939 h 943"/>
                        <a:gd name="T72" fmla="*/ 80 w 379"/>
                        <a:gd name="T73" fmla="*/ 938 h 943"/>
                        <a:gd name="T74" fmla="*/ 2 w 379"/>
                        <a:gd name="T75" fmla="*/ 939 h 943"/>
                        <a:gd name="T76" fmla="*/ 4 w 379"/>
                        <a:gd name="T77" fmla="*/ 920 h 943"/>
                        <a:gd name="T78" fmla="*/ 4 w 379"/>
                        <a:gd name="T79" fmla="*/ 869 h 943"/>
                        <a:gd name="T80" fmla="*/ 4 w 379"/>
                        <a:gd name="T81" fmla="*/ 793 h 943"/>
                        <a:gd name="T82" fmla="*/ 5 w 379"/>
                        <a:gd name="T83" fmla="*/ 608 h 943"/>
                        <a:gd name="T84" fmla="*/ 3 w 379"/>
                        <a:gd name="T85" fmla="*/ 586 h 943"/>
                        <a:gd name="T86" fmla="*/ 4 w 379"/>
                        <a:gd name="T87" fmla="*/ 558 h 943"/>
                        <a:gd name="T88" fmla="*/ 4 w 379"/>
                        <a:gd name="T89" fmla="*/ 529 h 943"/>
                        <a:gd name="T90" fmla="*/ 4 w 379"/>
                        <a:gd name="T91" fmla="*/ 521 h 943"/>
                        <a:gd name="T92" fmla="*/ 3 w 379"/>
                        <a:gd name="T93" fmla="*/ 263 h 943"/>
                        <a:gd name="T94" fmla="*/ 3 w 379"/>
                        <a:gd name="T95" fmla="*/ 249 h 943"/>
                        <a:gd name="T96" fmla="*/ 3 w 379"/>
                        <a:gd name="T97" fmla="*/ 185 h 943"/>
                        <a:gd name="T98" fmla="*/ 3 w 379"/>
                        <a:gd name="T99" fmla="*/ 152 h 943"/>
                        <a:gd name="T100" fmla="*/ 4 w 379"/>
                        <a:gd name="T101" fmla="*/ 20 h 943"/>
                        <a:gd name="T102" fmla="*/ 2 w 379"/>
                        <a:gd name="T103" fmla="*/ 3 h 943"/>
                        <a:gd name="T104" fmla="*/ 100 w 379"/>
                        <a:gd name="T105" fmla="*/ 3 h 943"/>
                        <a:gd name="T106" fmla="*/ 310 w 379"/>
                        <a:gd name="T107" fmla="*/ 2 h 943"/>
                        <a:gd name="T108" fmla="*/ 372 w 379"/>
                        <a:gd name="T109" fmla="*/ 3 h 943"/>
                        <a:gd name="T110" fmla="*/ 372 w 379"/>
                        <a:gd name="T111" fmla="*/ 53 h 943"/>
                        <a:gd name="T112" fmla="*/ 372 w 379"/>
                        <a:gd name="T113" fmla="*/ 71 h 943"/>
                        <a:gd name="T114" fmla="*/ 372 w 379"/>
                        <a:gd name="T115" fmla="*/ 155 h 943"/>
                        <a:gd name="T116" fmla="*/ 372 w 379"/>
                        <a:gd name="T117" fmla="*/ 177 h 943"/>
                        <a:gd name="T118" fmla="*/ 372 w 379"/>
                        <a:gd name="T119" fmla="*/ 257 h 943"/>
                        <a:gd name="T120" fmla="*/ 372 w 379"/>
                        <a:gd name="T121" fmla="*/ 309 h 943"/>
                        <a:gd name="T122" fmla="*/ 372 w 379"/>
                        <a:gd name="T123" fmla="*/ 317 h 943"/>
                        <a:gd name="T124" fmla="*/ 372 w 379"/>
                        <a:gd name="T125" fmla="*/ 383 h 9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379" h="943">
                          <a:moveTo>
                            <a:pt x="372" y="383"/>
                          </a:moveTo>
                          <a:cubicBezTo>
                            <a:pt x="371" y="382"/>
                            <a:pt x="371" y="382"/>
                            <a:pt x="371" y="382"/>
                          </a:cubicBezTo>
                          <a:cubicBezTo>
                            <a:pt x="372" y="403"/>
                            <a:pt x="371" y="426"/>
                            <a:pt x="372" y="448"/>
                          </a:cubicBezTo>
                          <a:cubicBezTo>
                            <a:pt x="372" y="446"/>
                            <a:pt x="372" y="446"/>
                            <a:pt x="372" y="446"/>
                          </a:cubicBezTo>
                          <a:cubicBezTo>
                            <a:pt x="371" y="501"/>
                            <a:pt x="372" y="552"/>
                            <a:pt x="372" y="607"/>
                          </a:cubicBezTo>
                          <a:cubicBezTo>
                            <a:pt x="372" y="606"/>
                            <a:pt x="372" y="606"/>
                            <a:pt x="372" y="605"/>
                          </a:cubicBezTo>
                          <a:cubicBezTo>
                            <a:pt x="372" y="608"/>
                            <a:pt x="373" y="611"/>
                            <a:pt x="373" y="614"/>
                          </a:cubicBezTo>
                          <a:cubicBezTo>
                            <a:pt x="373" y="614"/>
                            <a:pt x="372" y="613"/>
                            <a:pt x="372" y="612"/>
                          </a:cubicBezTo>
                          <a:cubicBezTo>
                            <a:pt x="372" y="623"/>
                            <a:pt x="373" y="646"/>
                            <a:pt x="372" y="653"/>
                          </a:cubicBezTo>
                          <a:cubicBezTo>
                            <a:pt x="372" y="656"/>
                            <a:pt x="373" y="658"/>
                            <a:pt x="373" y="656"/>
                          </a:cubicBezTo>
                          <a:cubicBezTo>
                            <a:pt x="373" y="699"/>
                            <a:pt x="373" y="745"/>
                            <a:pt x="374" y="788"/>
                          </a:cubicBezTo>
                          <a:cubicBezTo>
                            <a:pt x="374" y="790"/>
                            <a:pt x="374" y="791"/>
                            <a:pt x="373" y="790"/>
                          </a:cubicBezTo>
                          <a:cubicBezTo>
                            <a:pt x="374" y="828"/>
                            <a:pt x="374" y="867"/>
                            <a:pt x="374" y="905"/>
                          </a:cubicBezTo>
                          <a:cubicBezTo>
                            <a:pt x="374" y="906"/>
                            <a:pt x="374" y="901"/>
                            <a:pt x="374" y="905"/>
                          </a:cubicBezTo>
                          <a:cubicBezTo>
                            <a:pt x="375" y="893"/>
                            <a:pt x="374" y="882"/>
                            <a:pt x="374" y="871"/>
                          </a:cubicBezTo>
                          <a:cubicBezTo>
                            <a:pt x="375" y="873"/>
                            <a:pt x="375" y="873"/>
                            <a:pt x="375" y="873"/>
                          </a:cubicBezTo>
                          <a:cubicBezTo>
                            <a:pt x="375" y="865"/>
                            <a:pt x="374" y="871"/>
                            <a:pt x="374" y="863"/>
                          </a:cubicBezTo>
                          <a:cubicBezTo>
                            <a:pt x="374" y="859"/>
                            <a:pt x="375" y="863"/>
                            <a:pt x="375" y="862"/>
                          </a:cubicBezTo>
                          <a:cubicBezTo>
                            <a:pt x="374" y="845"/>
                            <a:pt x="375" y="827"/>
                            <a:pt x="374" y="810"/>
                          </a:cubicBezTo>
                          <a:cubicBezTo>
                            <a:pt x="375" y="806"/>
                            <a:pt x="374" y="792"/>
                            <a:pt x="375" y="786"/>
                          </a:cubicBezTo>
                          <a:cubicBezTo>
                            <a:pt x="374" y="781"/>
                            <a:pt x="374" y="777"/>
                            <a:pt x="374" y="775"/>
                          </a:cubicBezTo>
                          <a:cubicBezTo>
                            <a:pt x="374" y="715"/>
                            <a:pt x="374" y="653"/>
                            <a:pt x="374" y="591"/>
                          </a:cubicBezTo>
                          <a:cubicBezTo>
                            <a:pt x="373" y="562"/>
                            <a:pt x="374" y="528"/>
                            <a:pt x="374" y="493"/>
                          </a:cubicBezTo>
                          <a:cubicBezTo>
                            <a:pt x="374" y="493"/>
                            <a:pt x="374" y="493"/>
                            <a:pt x="374" y="493"/>
                          </a:cubicBezTo>
                          <a:cubicBezTo>
                            <a:pt x="373" y="482"/>
                            <a:pt x="373" y="466"/>
                            <a:pt x="373" y="453"/>
                          </a:cubicBezTo>
                          <a:cubicBezTo>
                            <a:pt x="373" y="441"/>
                            <a:pt x="373" y="441"/>
                            <a:pt x="373" y="441"/>
                          </a:cubicBezTo>
                          <a:cubicBezTo>
                            <a:pt x="374" y="361"/>
                            <a:pt x="373" y="279"/>
                            <a:pt x="374" y="197"/>
                          </a:cubicBezTo>
                          <a:cubicBezTo>
                            <a:pt x="374" y="129"/>
                            <a:pt x="374" y="66"/>
                            <a:pt x="374" y="2"/>
                          </a:cubicBezTo>
                          <a:cubicBezTo>
                            <a:pt x="374" y="0"/>
                            <a:pt x="374" y="0"/>
                            <a:pt x="374" y="0"/>
                          </a:cubicBezTo>
                          <a:cubicBezTo>
                            <a:pt x="372" y="0"/>
                            <a:pt x="372" y="0"/>
                            <a:pt x="372" y="0"/>
                          </a:cubicBezTo>
                          <a:cubicBezTo>
                            <a:pt x="350" y="0"/>
                            <a:pt x="327" y="0"/>
                            <a:pt x="303" y="1"/>
                          </a:cubicBezTo>
                          <a:cubicBezTo>
                            <a:pt x="303" y="1"/>
                            <a:pt x="303" y="1"/>
                            <a:pt x="305" y="1"/>
                          </a:cubicBezTo>
                          <a:cubicBezTo>
                            <a:pt x="279" y="1"/>
                            <a:pt x="255" y="0"/>
                            <a:pt x="231" y="1"/>
                          </a:cubicBezTo>
                          <a:cubicBezTo>
                            <a:pt x="231" y="1"/>
                            <a:pt x="231" y="1"/>
                            <a:pt x="231" y="1"/>
                          </a:cubicBezTo>
                          <a:cubicBezTo>
                            <a:pt x="170" y="2"/>
                            <a:pt x="104" y="0"/>
                            <a:pt x="45" y="2"/>
                          </a:cubicBezTo>
                          <a:cubicBezTo>
                            <a:pt x="32" y="2"/>
                            <a:pt x="18" y="2"/>
                            <a:pt x="2" y="2"/>
                          </a:cubicBezTo>
                          <a:cubicBezTo>
                            <a:pt x="2" y="2"/>
                            <a:pt x="2" y="2"/>
                            <a:pt x="2" y="2"/>
                          </a:cubicBezTo>
                          <a:cubicBezTo>
                            <a:pt x="2" y="2"/>
                            <a:pt x="2" y="2"/>
                            <a:pt x="2" y="2"/>
                          </a:cubicBezTo>
                          <a:cubicBezTo>
                            <a:pt x="2" y="61"/>
                            <a:pt x="2" y="126"/>
                            <a:pt x="2" y="187"/>
                          </a:cubicBezTo>
                          <a:cubicBezTo>
                            <a:pt x="2" y="187"/>
                            <a:pt x="2" y="187"/>
                            <a:pt x="2" y="187"/>
                          </a:cubicBezTo>
                          <a:cubicBezTo>
                            <a:pt x="2" y="247"/>
                            <a:pt x="1" y="306"/>
                            <a:pt x="1" y="366"/>
                          </a:cubicBezTo>
                          <a:cubicBezTo>
                            <a:pt x="1" y="428"/>
                            <a:pt x="3" y="494"/>
                            <a:pt x="2" y="557"/>
                          </a:cubicBezTo>
                          <a:cubicBezTo>
                            <a:pt x="1" y="595"/>
                            <a:pt x="4" y="646"/>
                            <a:pt x="2" y="683"/>
                          </a:cubicBezTo>
                          <a:cubicBezTo>
                            <a:pt x="0" y="757"/>
                            <a:pt x="2" y="830"/>
                            <a:pt x="3" y="905"/>
                          </a:cubicBezTo>
                          <a:cubicBezTo>
                            <a:pt x="3" y="917"/>
                            <a:pt x="3" y="929"/>
                            <a:pt x="3" y="941"/>
                          </a:cubicBezTo>
                          <a:cubicBezTo>
                            <a:pt x="2" y="941"/>
                            <a:pt x="2" y="941"/>
                            <a:pt x="2" y="941"/>
                          </a:cubicBezTo>
                          <a:cubicBezTo>
                            <a:pt x="59" y="941"/>
                            <a:pt x="115" y="940"/>
                            <a:pt x="171" y="941"/>
                          </a:cubicBezTo>
                          <a:cubicBezTo>
                            <a:pt x="202" y="940"/>
                            <a:pt x="237" y="942"/>
                            <a:pt x="272" y="942"/>
                          </a:cubicBezTo>
                          <a:cubicBezTo>
                            <a:pt x="271" y="941"/>
                            <a:pt x="271" y="941"/>
                            <a:pt x="271" y="941"/>
                          </a:cubicBezTo>
                          <a:cubicBezTo>
                            <a:pt x="284" y="942"/>
                            <a:pt x="299" y="940"/>
                            <a:pt x="307" y="941"/>
                          </a:cubicBezTo>
                          <a:cubicBezTo>
                            <a:pt x="306" y="941"/>
                            <a:pt x="306" y="941"/>
                            <a:pt x="306" y="941"/>
                          </a:cubicBezTo>
                          <a:cubicBezTo>
                            <a:pt x="313" y="942"/>
                            <a:pt x="321" y="940"/>
                            <a:pt x="325" y="941"/>
                          </a:cubicBezTo>
                          <a:cubicBezTo>
                            <a:pt x="327" y="940"/>
                            <a:pt x="327" y="940"/>
                            <a:pt x="327" y="940"/>
                          </a:cubicBezTo>
                          <a:cubicBezTo>
                            <a:pt x="335" y="940"/>
                            <a:pt x="327" y="941"/>
                            <a:pt x="334" y="941"/>
                          </a:cubicBezTo>
                          <a:cubicBezTo>
                            <a:pt x="336" y="941"/>
                            <a:pt x="335" y="940"/>
                            <a:pt x="340" y="940"/>
                          </a:cubicBezTo>
                          <a:cubicBezTo>
                            <a:pt x="341" y="942"/>
                            <a:pt x="359" y="940"/>
                            <a:pt x="360" y="942"/>
                          </a:cubicBezTo>
                          <a:cubicBezTo>
                            <a:pt x="356" y="942"/>
                            <a:pt x="367" y="942"/>
                            <a:pt x="357" y="943"/>
                          </a:cubicBezTo>
                          <a:cubicBezTo>
                            <a:pt x="360" y="943"/>
                            <a:pt x="373" y="943"/>
                            <a:pt x="372" y="942"/>
                          </a:cubicBezTo>
                          <a:cubicBezTo>
                            <a:pt x="373" y="941"/>
                            <a:pt x="379" y="941"/>
                            <a:pt x="370" y="940"/>
                          </a:cubicBezTo>
                          <a:cubicBezTo>
                            <a:pt x="369" y="941"/>
                            <a:pt x="369" y="941"/>
                            <a:pt x="369" y="941"/>
                          </a:cubicBezTo>
                          <a:cubicBezTo>
                            <a:pt x="366" y="940"/>
                            <a:pt x="367" y="940"/>
                            <a:pt x="366" y="940"/>
                          </a:cubicBezTo>
                          <a:cubicBezTo>
                            <a:pt x="355" y="940"/>
                            <a:pt x="353" y="939"/>
                            <a:pt x="346" y="939"/>
                          </a:cubicBezTo>
                          <a:cubicBezTo>
                            <a:pt x="346" y="939"/>
                            <a:pt x="346" y="939"/>
                            <a:pt x="346" y="939"/>
                          </a:cubicBezTo>
                          <a:cubicBezTo>
                            <a:pt x="340" y="940"/>
                            <a:pt x="333" y="939"/>
                            <a:pt x="329" y="939"/>
                          </a:cubicBezTo>
                          <a:cubicBezTo>
                            <a:pt x="327" y="939"/>
                            <a:pt x="327" y="939"/>
                            <a:pt x="327" y="939"/>
                          </a:cubicBezTo>
                          <a:cubicBezTo>
                            <a:pt x="325" y="938"/>
                            <a:pt x="315" y="940"/>
                            <a:pt x="318" y="939"/>
                          </a:cubicBezTo>
                          <a:cubicBezTo>
                            <a:pt x="296" y="939"/>
                            <a:pt x="271" y="939"/>
                            <a:pt x="247" y="939"/>
                          </a:cubicBezTo>
                          <a:cubicBezTo>
                            <a:pt x="243" y="940"/>
                            <a:pt x="228" y="939"/>
                            <a:pt x="233" y="940"/>
                          </a:cubicBezTo>
                          <a:cubicBezTo>
                            <a:pt x="227" y="939"/>
                            <a:pt x="209" y="939"/>
                            <a:pt x="202" y="939"/>
                          </a:cubicBezTo>
                          <a:cubicBezTo>
                            <a:pt x="202" y="939"/>
                            <a:pt x="203" y="939"/>
                            <a:pt x="204" y="939"/>
                          </a:cubicBezTo>
                          <a:cubicBezTo>
                            <a:pt x="191" y="938"/>
                            <a:pt x="188" y="940"/>
                            <a:pt x="176" y="938"/>
                          </a:cubicBezTo>
                          <a:cubicBezTo>
                            <a:pt x="174" y="939"/>
                            <a:pt x="153" y="938"/>
                            <a:pt x="146" y="939"/>
                          </a:cubicBezTo>
                          <a:cubicBezTo>
                            <a:pt x="145" y="939"/>
                            <a:pt x="144" y="939"/>
                            <a:pt x="145" y="939"/>
                          </a:cubicBezTo>
                          <a:cubicBezTo>
                            <a:pt x="123" y="939"/>
                            <a:pt x="98" y="938"/>
                            <a:pt x="80" y="938"/>
                          </a:cubicBezTo>
                          <a:cubicBezTo>
                            <a:pt x="64" y="939"/>
                            <a:pt x="41" y="938"/>
                            <a:pt x="27" y="939"/>
                          </a:cubicBezTo>
                          <a:cubicBezTo>
                            <a:pt x="21" y="939"/>
                            <a:pt x="12" y="939"/>
                            <a:pt x="2" y="939"/>
                          </a:cubicBezTo>
                          <a:cubicBezTo>
                            <a:pt x="3" y="939"/>
                            <a:pt x="4" y="940"/>
                            <a:pt x="5" y="941"/>
                          </a:cubicBezTo>
                          <a:cubicBezTo>
                            <a:pt x="5" y="934"/>
                            <a:pt x="5" y="927"/>
                            <a:pt x="4" y="920"/>
                          </a:cubicBezTo>
                          <a:cubicBezTo>
                            <a:pt x="5" y="922"/>
                            <a:pt x="5" y="922"/>
                            <a:pt x="5" y="922"/>
                          </a:cubicBezTo>
                          <a:cubicBezTo>
                            <a:pt x="5" y="904"/>
                            <a:pt x="4" y="881"/>
                            <a:pt x="4" y="869"/>
                          </a:cubicBezTo>
                          <a:cubicBezTo>
                            <a:pt x="5" y="864"/>
                            <a:pt x="5" y="856"/>
                            <a:pt x="5" y="848"/>
                          </a:cubicBezTo>
                          <a:cubicBezTo>
                            <a:pt x="4" y="836"/>
                            <a:pt x="5" y="812"/>
                            <a:pt x="4" y="793"/>
                          </a:cubicBezTo>
                          <a:cubicBezTo>
                            <a:pt x="5" y="791"/>
                            <a:pt x="4" y="778"/>
                            <a:pt x="5" y="777"/>
                          </a:cubicBezTo>
                          <a:cubicBezTo>
                            <a:pt x="3" y="726"/>
                            <a:pt x="4" y="663"/>
                            <a:pt x="5" y="608"/>
                          </a:cubicBezTo>
                          <a:cubicBezTo>
                            <a:pt x="5" y="609"/>
                            <a:pt x="5" y="609"/>
                            <a:pt x="5" y="609"/>
                          </a:cubicBezTo>
                          <a:cubicBezTo>
                            <a:pt x="4" y="602"/>
                            <a:pt x="4" y="593"/>
                            <a:pt x="3" y="586"/>
                          </a:cubicBezTo>
                          <a:cubicBezTo>
                            <a:pt x="3" y="585"/>
                            <a:pt x="3" y="585"/>
                            <a:pt x="3" y="587"/>
                          </a:cubicBezTo>
                          <a:cubicBezTo>
                            <a:pt x="3" y="577"/>
                            <a:pt x="4" y="568"/>
                            <a:pt x="4" y="558"/>
                          </a:cubicBezTo>
                          <a:cubicBezTo>
                            <a:pt x="4" y="558"/>
                            <a:pt x="4" y="558"/>
                            <a:pt x="4" y="559"/>
                          </a:cubicBezTo>
                          <a:cubicBezTo>
                            <a:pt x="4" y="550"/>
                            <a:pt x="5" y="540"/>
                            <a:pt x="4" y="529"/>
                          </a:cubicBezTo>
                          <a:cubicBezTo>
                            <a:pt x="4" y="528"/>
                            <a:pt x="4" y="528"/>
                            <a:pt x="4" y="528"/>
                          </a:cubicBezTo>
                          <a:cubicBezTo>
                            <a:pt x="4" y="521"/>
                            <a:pt x="4" y="521"/>
                            <a:pt x="4" y="521"/>
                          </a:cubicBezTo>
                          <a:cubicBezTo>
                            <a:pt x="4" y="521"/>
                            <a:pt x="4" y="522"/>
                            <a:pt x="4" y="525"/>
                          </a:cubicBezTo>
                          <a:cubicBezTo>
                            <a:pt x="5" y="439"/>
                            <a:pt x="3" y="351"/>
                            <a:pt x="3" y="263"/>
                          </a:cubicBezTo>
                          <a:cubicBezTo>
                            <a:pt x="4" y="266"/>
                            <a:pt x="4" y="266"/>
                            <a:pt x="4" y="266"/>
                          </a:cubicBezTo>
                          <a:cubicBezTo>
                            <a:pt x="3" y="249"/>
                            <a:pt x="3" y="249"/>
                            <a:pt x="3" y="249"/>
                          </a:cubicBezTo>
                          <a:cubicBezTo>
                            <a:pt x="3" y="249"/>
                            <a:pt x="3" y="250"/>
                            <a:pt x="4" y="250"/>
                          </a:cubicBezTo>
                          <a:cubicBezTo>
                            <a:pt x="4" y="229"/>
                            <a:pt x="3" y="206"/>
                            <a:pt x="3" y="185"/>
                          </a:cubicBezTo>
                          <a:cubicBezTo>
                            <a:pt x="4" y="185"/>
                            <a:pt x="4" y="188"/>
                            <a:pt x="4" y="185"/>
                          </a:cubicBezTo>
                          <a:cubicBezTo>
                            <a:pt x="3" y="169"/>
                            <a:pt x="5" y="160"/>
                            <a:pt x="3" y="152"/>
                          </a:cubicBezTo>
                          <a:cubicBezTo>
                            <a:pt x="3" y="151"/>
                            <a:pt x="4" y="151"/>
                            <a:pt x="4" y="152"/>
                          </a:cubicBezTo>
                          <a:cubicBezTo>
                            <a:pt x="3" y="109"/>
                            <a:pt x="3" y="64"/>
                            <a:pt x="4" y="20"/>
                          </a:cubicBezTo>
                          <a:cubicBezTo>
                            <a:pt x="3" y="14"/>
                            <a:pt x="3" y="8"/>
                            <a:pt x="3" y="2"/>
                          </a:cubicBezTo>
                          <a:cubicBezTo>
                            <a:pt x="3" y="2"/>
                            <a:pt x="3" y="3"/>
                            <a:pt x="2" y="3"/>
                          </a:cubicBezTo>
                          <a:cubicBezTo>
                            <a:pt x="34" y="2"/>
                            <a:pt x="68" y="3"/>
                            <a:pt x="100" y="2"/>
                          </a:cubicBezTo>
                          <a:cubicBezTo>
                            <a:pt x="100" y="3"/>
                            <a:pt x="100" y="3"/>
                            <a:pt x="100" y="3"/>
                          </a:cubicBezTo>
                          <a:cubicBezTo>
                            <a:pt x="149" y="2"/>
                            <a:pt x="202" y="3"/>
                            <a:pt x="253" y="2"/>
                          </a:cubicBezTo>
                          <a:cubicBezTo>
                            <a:pt x="274" y="3"/>
                            <a:pt x="288" y="2"/>
                            <a:pt x="310" y="2"/>
                          </a:cubicBezTo>
                          <a:cubicBezTo>
                            <a:pt x="310" y="3"/>
                            <a:pt x="310" y="3"/>
                            <a:pt x="310" y="3"/>
                          </a:cubicBezTo>
                          <a:cubicBezTo>
                            <a:pt x="330" y="2"/>
                            <a:pt x="351" y="2"/>
                            <a:pt x="372" y="3"/>
                          </a:cubicBezTo>
                          <a:cubicBezTo>
                            <a:pt x="372" y="2"/>
                            <a:pt x="372" y="2"/>
                            <a:pt x="372" y="2"/>
                          </a:cubicBezTo>
                          <a:cubicBezTo>
                            <a:pt x="371" y="19"/>
                            <a:pt x="371" y="36"/>
                            <a:pt x="372" y="53"/>
                          </a:cubicBezTo>
                          <a:cubicBezTo>
                            <a:pt x="371" y="51"/>
                            <a:pt x="371" y="51"/>
                            <a:pt x="371" y="51"/>
                          </a:cubicBezTo>
                          <a:cubicBezTo>
                            <a:pt x="372" y="56"/>
                            <a:pt x="371" y="73"/>
                            <a:pt x="372" y="71"/>
                          </a:cubicBezTo>
                          <a:cubicBezTo>
                            <a:pt x="372" y="78"/>
                            <a:pt x="372" y="78"/>
                            <a:pt x="372" y="78"/>
                          </a:cubicBezTo>
                          <a:cubicBezTo>
                            <a:pt x="374" y="103"/>
                            <a:pt x="371" y="124"/>
                            <a:pt x="372" y="155"/>
                          </a:cubicBezTo>
                          <a:cubicBezTo>
                            <a:pt x="372" y="153"/>
                            <a:pt x="372" y="153"/>
                            <a:pt x="372" y="153"/>
                          </a:cubicBezTo>
                          <a:cubicBezTo>
                            <a:pt x="372" y="161"/>
                            <a:pt x="372" y="171"/>
                            <a:pt x="372" y="177"/>
                          </a:cubicBezTo>
                          <a:cubicBezTo>
                            <a:pt x="372" y="176"/>
                            <a:pt x="372" y="177"/>
                            <a:pt x="372" y="175"/>
                          </a:cubicBezTo>
                          <a:cubicBezTo>
                            <a:pt x="371" y="201"/>
                            <a:pt x="372" y="230"/>
                            <a:pt x="372" y="257"/>
                          </a:cubicBezTo>
                          <a:cubicBezTo>
                            <a:pt x="371" y="254"/>
                            <a:pt x="371" y="254"/>
                            <a:pt x="371" y="254"/>
                          </a:cubicBezTo>
                          <a:cubicBezTo>
                            <a:pt x="372" y="267"/>
                            <a:pt x="372" y="292"/>
                            <a:pt x="372" y="309"/>
                          </a:cubicBezTo>
                          <a:cubicBezTo>
                            <a:pt x="372" y="308"/>
                            <a:pt x="372" y="308"/>
                            <a:pt x="372" y="308"/>
                          </a:cubicBezTo>
                          <a:cubicBezTo>
                            <a:pt x="372" y="317"/>
                            <a:pt x="372" y="317"/>
                            <a:pt x="372" y="317"/>
                          </a:cubicBezTo>
                          <a:cubicBezTo>
                            <a:pt x="371" y="317"/>
                            <a:pt x="371" y="317"/>
                            <a:pt x="371" y="317"/>
                          </a:cubicBezTo>
                          <a:cubicBezTo>
                            <a:pt x="371" y="340"/>
                            <a:pt x="372" y="361"/>
                            <a:pt x="372" y="383"/>
                          </a:cubicBez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9525">
                      <a:solidFill>
                        <a:schemeClr val="tx2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80682" tIns="40341" rIns="80682" bIns="4034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8990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9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6725140" y="3558090"/>
                      <a:ext cx="1100881" cy="592585"/>
                    </a:xfrm>
                    <a:custGeom>
                      <a:avLst/>
                      <a:gdLst>
                        <a:gd name="T0" fmla="*/ 371 w 379"/>
                        <a:gd name="T1" fmla="*/ 382 h 943"/>
                        <a:gd name="T2" fmla="*/ 372 w 379"/>
                        <a:gd name="T3" fmla="*/ 446 h 943"/>
                        <a:gd name="T4" fmla="*/ 372 w 379"/>
                        <a:gd name="T5" fmla="*/ 605 h 943"/>
                        <a:gd name="T6" fmla="*/ 372 w 379"/>
                        <a:gd name="T7" fmla="*/ 612 h 943"/>
                        <a:gd name="T8" fmla="*/ 373 w 379"/>
                        <a:gd name="T9" fmla="*/ 656 h 943"/>
                        <a:gd name="T10" fmla="*/ 373 w 379"/>
                        <a:gd name="T11" fmla="*/ 790 h 943"/>
                        <a:gd name="T12" fmla="*/ 374 w 379"/>
                        <a:gd name="T13" fmla="*/ 905 h 943"/>
                        <a:gd name="T14" fmla="*/ 375 w 379"/>
                        <a:gd name="T15" fmla="*/ 873 h 943"/>
                        <a:gd name="T16" fmla="*/ 375 w 379"/>
                        <a:gd name="T17" fmla="*/ 862 h 943"/>
                        <a:gd name="T18" fmla="*/ 375 w 379"/>
                        <a:gd name="T19" fmla="*/ 786 h 943"/>
                        <a:gd name="T20" fmla="*/ 374 w 379"/>
                        <a:gd name="T21" fmla="*/ 591 h 943"/>
                        <a:gd name="T22" fmla="*/ 374 w 379"/>
                        <a:gd name="T23" fmla="*/ 493 h 943"/>
                        <a:gd name="T24" fmla="*/ 373 w 379"/>
                        <a:gd name="T25" fmla="*/ 441 h 943"/>
                        <a:gd name="T26" fmla="*/ 374 w 379"/>
                        <a:gd name="T27" fmla="*/ 2 h 943"/>
                        <a:gd name="T28" fmla="*/ 372 w 379"/>
                        <a:gd name="T29" fmla="*/ 0 h 943"/>
                        <a:gd name="T30" fmla="*/ 305 w 379"/>
                        <a:gd name="T31" fmla="*/ 1 h 943"/>
                        <a:gd name="T32" fmla="*/ 231 w 379"/>
                        <a:gd name="T33" fmla="*/ 1 h 943"/>
                        <a:gd name="T34" fmla="*/ 2 w 379"/>
                        <a:gd name="T35" fmla="*/ 2 h 943"/>
                        <a:gd name="T36" fmla="*/ 2 w 379"/>
                        <a:gd name="T37" fmla="*/ 2 h 943"/>
                        <a:gd name="T38" fmla="*/ 2 w 379"/>
                        <a:gd name="T39" fmla="*/ 187 h 943"/>
                        <a:gd name="T40" fmla="*/ 2 w 379"/>
                        <a:gd name="T41" fmla="*/ 557 h 943"/>
                        <a:gd name="T42" fmla="*/ 3 w 379"/>
                        <a:gd name="T43" fmla="*/ 905 h 943"/>
                        <a:gd name="T44" fmla="*/ 2 w 379"/>
                        <a:gd name="T45" fmla="*/ 941 h 943"/>
                        <a:gd name="T46" fmla="*/ 272 w 379"/>
                        <a:gd name="T47" fmla="*/ 942 h 943"/>
                        <a:gd name="T48" fmla="*/ 307 w 379"/>
                        <a:gd name="T49" fmla="*/ 941 h 943"/>
                        <a:gd name="T50" fmla="*/ 325 w 379"/>
                        <a:gd name="T51" fmla="*/ 941 h 943"/>
                        <a:gd name="T52" fmla="*/ 334 w 379"/>
                        <a:gd name="T53" fmla="*/ 941 h 943"/>
                        <a:gd name="T54" fmla="*/ 360 w 379"/>
                        <a:gd name="T55" fmla="*/ 942 h 943"/>
                        <a:gd name="T56" fmla="*/ 372 w 379"/>
                        <a:gd name="T57" fmla="*/ 942 h 943"/>
                        <a:gd name="T58" fmla="*/ 369 w 379"/>
                        <a:gd name="T59" fmla="*/ 941 h 943"/>
                        <a:gd name="T60" fmla="*/ 346 w 379"/>
                        <a:gd name="T61" fmla="*/ 939 h 943"/>
                        <a:gd name="T62" fmla="*/ 329 w 379"/>
                        <a:gd name="T63" fmla="*/ 939 h 943"/>
                        <a:gd name="T64" fmla="*/ 318 w 379"/>
                        <a:gd name="T65" fmla="*/ 939 h 943"/>
                        <a:gd name="T66" fmla="*/ 233 w 379"/>
                        <a:gd name="T67" fmla="*/ 940 h 943"/>
                        <a:gd name="T68" fmla="*/ 204 w 379"/>
                        <a:gd name="T69" fmla="*/ 939 h 943"/>
                        <a:gd name="T70" fmla="*/ 146 w 379"/>
                        <a:gd name="T71" fmla="*/ 939 h 943"/>
                        <a:gd name="T72" fmla="*/ 80 w 379"/>
                        <a:gd name="T73" fmla="*/ 938 h 943"/>
                        <a:gd name="T74" fmla="*/ 2 w 379"/>
                        <a:gd name="T75" fmla="*/ 939 h 943"/>
                        <a:gd name="T76" fmla="*/ 4 w 379"/>
                        <a:gd name="T77" fmla="*/ 920 h 943"/>
                        <a:gd name="T78" fmla="*/ 4 w 379"/>
                        <a:gd name="T79" fmla="*/ 869 h 943"/>
                        <a:gd name="T80" fmla="*/ 4 w 379"/>
                        <a:gd name="T81" fmla="*/ 793 h 943"/>
                        <a:gd name="T82" fmla="*/ 5 w 379"/>
                        <a:gd name="T83" fmla="*/ 608 h 943"/>
                        <a:gd name="T84" fmla="*/ 3 w 379"/>
                        <a:gd name="T85" fmla="*/ 586 h 943"/>
                        <a:gd name="T86" fmla="*/ 4 w 379"/>
                        <a:gd name="T87" fmla="*/ 558 h 943"/>
                        <a:gd name="T88" fmla="*/ 4 w 379"/>
                        <a:gd name="T89" fmla="*/ 529 h 943"/>
                        <a:gd name="T90" fmla="*/ 4 w 379"/>
                        <a:gd name="T91" fmla="*/ 521 h 943"/>
                        <a:gd name="T92" fmla="*/ 3 w 379"/>
                        <a:gd name="T93" fmla="*/ 263 h 943"/>
                        <a:gd name="T94" fmla="*/ 3 w 379"/>
                        <a:gd name="T95" fmla="*/ 249 h 943"/>
                        <a:gd name="T96" fmla="*/ 3 w 379"/>
                        <a:gd name="T97" fmla="*/ 185 h 943"/>
                        <a:gd name="T98" fmla="*/ 3 w 379"/>
                        <a:gd name="T99" fmla="*/ 152 h 943"/>
                        <a:gd name="T100" fmla="*/ 4 w 379"/>
                        <a:gd name="T101" fmla="*/ 20 h 943"/>
                        <a:gd name="T102" fmla="*/ 2 w 379"/>
                        <a:gd name="T103" fmla="*/ 3 h 943"/>
                        <a:gd name="T104" fmla="*/ 100 w 379"/>
                        <a:gd name="T105" fmla="*/ 3 h 943"/>
                        <a:gd name="T106" fmla="*/ 310 w 379"/>
                        <a:gd name="T107" fmla="*/ 2 h 943"/>
                        <a:gd name="T108" fmla="*/ 372 w 379"/>
                        <a:gd name="T109" fmla="*/ 3 h 943"/>
                        <a:gd name="T110" fmla="*/ 372 w 379"/>
                        <a:gd name="T111" fmla="*/ 53 h 943"/>
                        <a:gd name="T112" fmla="*/ 372 w 379"/>
                        <a:gd name="T113" fmla="*/ 71 h 943"/>
                        <a:gd name="T114" fmla="*/ 372 w 379"/>
                        <a:gd name="T115" fmla="*/ 155 h 943"/>
                        <a:gd name="T116" fmla="*/ 372 w 379"/>
                        <a:gd name="T117" fmla="*/ 177 h 943"/>
                        <a:gd name="T118" fmla="*/ 372 w 379"/>
                        <a:gd name="T119" fmla="*/ 257 h 943"/>
                        <a:gd name="T120" fmla="*/ 372 w 379"/>
                        <a:gd name="T121" fmla="*/ 309 h 943"/>
                        <a:gd name="T122" fmla="*/ 372 w 379"/>
                        <a:gd name="T123" fmla="*/ 317 h 943"/>
                        <a:gd name="T124" fmla="*/ 372 w 379"/>
                        <a:gd name="T125" fmla="*/ 383 h 9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379" h="943">
                          <a:moveTo>
                            <a:pt x="372" y="383"/>
                          </a:moveTo>
                          <a:cubicBezTo>
                            <a:pt x="371" y="382"/>
                            <a:pt x="371" y="382"/>
                            <a:pt x="371" y="382"/>
                          </a:cubicBezTo>
                          <a:cubicBezTo>
                            <a:pt x="372" y="403"/>
                            <a:pt x="371" y="426"/>
                            <a:pt x="372" y="448"/>
                          </a:cubicBezTo>
                          <a:cubicBezTo>
                            <a:pt x="372" y="446"/>
                            <a:pt x="372" y="446"/>
                            <a:pt x="372" y="446"/>
                          </a:cubicBezTo>
                          <a:cubicBezTo>
                            <a:pt x="371" y="501"/>
                            <a:pt x="372" y="552"/>
                            <a:pt x="372" y="607"/>
                          </a:cubicBezTo>
                          <a:cubicBezTo>
                            <a:pt x="372" y="606"/>
                            <a:pt x="372" y="606"/>
                            <a:pt x="372" y="605"/>
                          </a:cubicBezTo>
                          <a:cubicBezTo>
                            <a:pt x="372" y="608"/>
                            <a:pt x="373" y="611"/>
                            <a:pt x="373" y="614"/>
                          </a:cubicBezTo>
                          <a:cubicBezTo>
                            <a:pt x="373" y="614"/>
                            <a:pt x="372" y="613"/>
                            <a:pt x="372" y="612"/>
                          </a:cubicBezTo>
                          <a:cubicBezTo>
                            <a:pt x="372" y="623"/>
                            <a:pt x="373" y="646"/>
                            <a:pt x="372" y="653"/>
                          </a:cubicBezTo>
                          <a:cubicBezTo>
                            <a:pt x="372" y="656"/>
                            <a:pt x="373" y="658"/>
                            <a:pt x="373" y="656"/>
                          </a:cubicBezTo>
                          <a:cubicBezTo>
                            <a:pt x="373" y="699"/>
                            <a:pt x="373" y="745"/>
                            <a:pt x="374" y="788"/>
                          </a:cubicBezTo>
                          <a:cubicBezTo>
                            <a:pt x="374" y="790"/>
                            <a:pt x="374" y="791"/>
                            <a:pt x="373" y="790"/>
                          </a:cubicBezTo>
                          <a:cubicBezTo>
                            <a:pt x="374" y="828"/>
                            <a:pt x="374" y="867"/>
                            <a:pt x="374" y="905"/>
                          </a:cubicBezTo>
                          <a:cubicBezTo>
                            <a:pt x="374" y="906"/>
                            <a:pt x="374" y="901"/>
                            <a:pt x="374" y="905"/>
                          </a:cubicBezTo>
                          <a:cubicBezTo>
                            <a:pt x="375" y="893"/>
                            <a:pt x="374" y="882"/>
                            <a:pt x="374" y="871"/>
                          </a:cubicBezTo>
                          <a:cubicBezTo>
                            <a:pt x="375" y="873"/>
                            <a:pt x="375" y="873"/>
                            <a:pt x="375" y="873"/>
                          </a:cubicBezTo>
                          <a:cubicBezTo>
                            <a:pt x="375" y="865"/>
                            <a:pt x="374" y="871"/>
                            <a:pt x="374" y="863"/>
                          </a:cubicBezTo>
                          <a:cubicBezTo>
                            <a:pt x="374" y="859"/>
                            <a:pt x="375" y="863"/>
                            <a:pt x="375" y="862"/>
                          </a:cubicBezTo>
                          <a:cubicBezTo>
                            <a:pt x="374" y="845"/>
                            <a:pt x="375" y="827"/>
                            <a:pt x="374" y="810"/>
                          </a:cubicBezTo>
                          <a:cubicBezTo>
                            <a:pt x="375" y="806"/>
                            <a:pt x="374" y="792"/>
                            <a:pt x="375" y="786"/>
                          </a:cubicBezTo>
                          <a:cubicBezTo>
                            <a:pt x="374" y="781"/>
                            <a:pt x="374" y="777"/>
                            <a:pt x="374" y="775"/>
                          </a:cubicBezTo>
                          <a:cubicBezTo>
                            <a:pt x="374" y="715"/>
                            <a:pt x="374" y="653"/>
                            <a:pt x="374" y="591"/>
                          </a:cubicBezTo>
                          <a:cubicBezTo>
                            <a:pt x="373" y="562"/>
                            <a:pt x="374" y="528"/>
                            <a:pt x="374" y="493"/>
                          </a:cubicBezTo>
                          <a:cubicBezTo>
                            <a:pt x="374" y="493"/>
                            <a:pt x="374" y="493"/>
                            <a:pt x="374" y="493"/>
                          </a:cubicBezTo>
                          <a:cubicBezTo>
                            <a:pt x="373" y="482"/>
                            <a:pt x="373" y="466"/>
                            <a:pt x="373" y="453"/>
                          </a:cubicBezTo>
                          <a:cubicBezTo>
                            <a:pt x="373" y="441"/>
                            <a:pt x="373" y="441"/>
                            <a:pt x="373" y="441"/>
                          </a:cubicBezTo>
                          <a:cubicBezTo>
                            <a:pt x="374" y="361"/>
                            <a:pt x="373" y="279"/>
                            <a:pt x="374" y="197"/>
                          </a:cubicBezTo>
                          <a:cubicBezTo>
                            <a:pt x="374" y="129"/>
                            <a:pt x="374" y="66"/>
                            <a:pt x="374" y="2"/>
                          </a:cubicBezTo>
                          <a:cubicBezTo>
                            <a:pt x="374" y="0"/>
                            <a:pt x="374" y="0"/>
                            <a:pt x="374" y="0"/>
                          </a:cubicBezTo>
                          <a:cubicBezTo>
                            <a:pt x="372" y="0"/>
                            <a:pt x="372" y="0"/>
                            <a:pt x="372" y="0"/>
                          </a:cubicBezTo>
                          <a:cubicBezTo>
                            <a:pt x="350" y="0"/>
                            <a:pt x="327" y="0"/>
                            <a:pt x="303" y="1"/>
                          </a:cubicBezTo>
                          <a:cubicBezTo>
                            <a:pt x="303" y="1"/>
                            <a:pt x="303" y="1"/>
                            <a:pt x="305" y="1"/>
                          </a:cubicBezTo>
                          <a:cubicBezTo>
                            <a:pt x="279" y="1"/>
                            <a:pt x="255" y="0"/>
                            <a:pt x="231" y="1"/>
                          </a:cubicBezTo>
                          <a:cubicBezTo>
                            <a:pt x="231" y="1"/>
                            <a:pt x="231" y="1"/>
                            <a:pt x="231" y="1"/>
                          </a:cubicBezTo>
                          <a:cubicBezTo>
                            <a:pt x="170" y="2"/>
                            <a:pt x="104" y="0"/>
                            <a:pt x="45" y="2"/>
                          </a:cubicBezTo>
                          <a:cubicBezTo>
                            <a:pt x="32" y="2"/>
                            <a:pt x="18" y="2"/>
                            <a:pt x="2" y="2"/>
                          </a:cubicBezTo>
                          <a:cubicBezTo>
                            <a:pt x="2" y="2"/>
                            <a:pt x="2" y="2"/>
                            <a:pt x="2" y="2"/>
                          </a:cubicBezTo>
                          <a:cubicBezTo>
                            <a:pt x="2" y="2"/>
                            <a:pt x="2" y="2"/>
                            <a:pt x="2" y="2"/>
                          </a:cubicBezTo>
                          <a:cubicBezTo>
                            <a:pt x="2" y="61"/>
                            <a:pt x="2" y="126"/>
                            <a:pt x="2" y="187"/>
                          </a:cubicBezTo>
                          <a:cubicBezTo>
                            <a:pt x="2" y="187"/>
                            <a:pt x="2" y="187"/>
                            <a:pt x="2" y="187"/>
                          </a:cubicBezTo>
                          <a:cubicBezTo>
                            <a:pt x="2" y="247"/>
                            <a:pt x="1" y="306"/>
                            <a:pt x="1" y="366"/>
                          </a:cubicBezTo>
                          <a:cubicBezTo>
                            <a:pt x="1" y="428"/>
                            <a:pt x="3" y="494"/>
                            <a:pt x="2" y="557"/>
                          </a:cubicBezTo>
                          <a:cubicBezTo>
                            <a:pt x="1" y="595"/>
                            <a:pt x="4" y="646"/>
                            <a:pt x="2" y="683"/>
                          </a:cubicBezTo>
                          <a:cubicBezTo>
                            <a:pt x="0" y="757"/>
                            <a:pt x="2" y="830"/>
                            <a:pt x="3" y="905"/>
                          </a:cubicBezTo>
                          <a:cubicBezTo>
                            <a:pt x="3" y="917"/>
                            <a:pt x="3" y="929"/>
                            <a:pt x="3" y="941"/>
                          </a:cubicBezTo>
                          <a:cubicBezTo>
                            <a:pt x="2" y="941"/>
                            <a:pt x="2" y="941"/>
                            <a:pt x="2" y="941"/>
                          </a:cubicBezTo>
                          <a:cubicBezTo>
                            <a:pt x="59" y="941"/>
                            <a:pt x="115" y="940"/>
                            <a:pt x="171" y="941"/>
                          </a:cubicBezTo>
                          <a:cubicBezTo>
                            <a:pt x="202" y="940"/>
                            <a:pt x="237" y="942"/>
                            <a:pt x="272" y="942"/>
                          </a:cubicBezTo>
                          <a:cubicBezTo>
                            <a:pt x="271" y="941"/>
                            <a:pt x="271" y="941"/>
                            <a:pt x="271" y="941"/>
                          </a:cubicBezTo>
                          <a:cubicBezTo>
                            <a:pt x="284" y="942"/>
                            <a:pt x="299" y="940"/>
                            <a:pt x="307" y="941"/>
                          </a:cubicBezTo>
                          <a:cubicBezTo>
                            <a:pt x="306" y="941"/>
                            <a:pt x="306" y="941"/>
                            <a:pt x="306" y="941"/>
                          </a:cubicBezTo>
                          <a:cubicBezTo>
                            <a:pt x="313" y="942"/>
                            <a:pt x="321" y="940"/>
                            <a:pt x="325" y="941"/>
                          </a:cubicBezTo>
                          <a:cubicBezTo>
                            <a:pt x="327" y="940"/>
                            <a:pt x="327" y="940"/>
                            <a:pt x="327" y="940"/>
                          </a:cubicBezTo>
                          <a:cubicBezTo>
                            <a:pt x="335" y="940"/>
                            <a:pt x="327" y="941"/>
                            <a:pt x="334" y="941"/>
                          </a:cubicBezTo>
                          <a:cubicBezTo>
                            <a:pt x="336" y="941"/>
                            <a:pt x="335" y="940"/>
                            <a:pt x="340" y="940"/>
                          </a:cubicBezTo>
                          <a:cubicBezTo>
                            <a:pt x="341" y="942"/>
                            <a:pt x="359" y="940"/>
                            <a:pt x="360" y="942"/>
                          </a:cubicBezTo>
                          <a:cubicBezTo>
                            <a:pt x="356" y="942"/>
                            <a:pt x="367" y="942"/>
                            <a:pt x="357" y="943"/>
                          </a:cubicBezTo>
                          <a:cubicBezTo>
                            <a:pt x="360" y="943"/>
                            <a:pt x="373" y="943"/>
                            <a:pt x="372" y="942"/>
                          </a:cubicBezTo>
                          <a:cubicBezTo>
                            <a:pt x="373" y="941"/>
                            <a:pt x="379" y="941"/>
                            <a:pt x="370" y="940"/>
                          </a:cubicBezTo>
                          <a:cubicBezTo>
                            <a:pt x="369" y="941"/>
                            <a:pt x="369" y="941"/>
                            <a:pt x="369" y="941"/>
                          </a:cubicBezTo>
                          <a:cubicBezTo>
                            <a:pt x="366" y="940"/>
                            <a:pt x="367" y="940"/>
                            <a:pt x="366" y="940"/>
                          </a:cubicBezTo>
                          <a:cubicBezTo>
                            <a:pt x="355" y="940"/>
                            <a:pt x="353" y="939"/>
                            <a:pt x="346" y="939"/>
                          </a:cubicBezTo>
                          <a:cubicBezTo>
                            <a:pt x="346" y="939"/>
                            <a:pt x="346" y="939"/>
                            <a:pt x="346" y="939"/>
                          </a:cubicBezTo>
                          <a:cubicBezTo>
                            <a:pt x="340" y="940"/>
                            <a:pt x="333" y="939"/>
                            <a:pt x="329" y="939"/>
                          </a:cubicBezTo>
                          <a:cubicBezTo>
                            <a:pt x="327" y="939"/>
                            <a:pt x="327" y="939"/>
                            <a:pt x="327" y="939"/>
                          </a:cubicBezTo>
                          <a:cubicBezTo>
                            <a:pt x="325" y="938"/>
                            <a:pt x="315" y="940"/>
                            <a:pt x="318" y="939"/>
                          </a:cubicBezTo>
                          <a:cubicBezTo>
                            <a:pt x="296" y="939"/>
                            <a:pt x="271" y="939"/>
                            <a:pt x="247" y="939"/>
                          </a:cubicBezTo>
                          <a:cubicBezTo>
                            <a:pt x="243" y="940"/>
                            <a:pt x="228" y="939"/>
                            <a:pt x="233" y="940"/>
                          </a:cubicBezTo>
                          <a:cubicBezTo>
                            <a:pt x="227" y="939"/>
                            <a:pt x="209" y="939"/>
                            <a:pt x="202" y="939"/>
                          </a:cubicBezTo>
                          <a:cubicBezTo>
                            <a:pt x="202" y="939"/>
                            <a:pt x="203" y="939"/>
                            <a:pt x="204" y="939"/>
                          </a:cubicBezTo>
                          <a:cubicBezTo>
                            <a:pt x="191" y="938"/>
                            <a:pt x="188" y="940"/>
                            <a:pt x="176" y="938"/>
                          </a:cubicBezTo>
                          <a:cubicBezTo>
                            <a:pt x="174" y="939"/>
                            <a:pt x="153" y="938"/>
                            <a:pt x="146" y="939"/>
                          </a:cubicBezTo>
                          <a:cubicBezTo>
                            <a:pt x="145" y="939"/>
                            <a:pt x="144" y="939"/>
                            <a:pt x="145" y="939"/>
                          </a:cubicBezTo>
                          <a:cubicBezTo>
                            <a:pt x="123" y="939"/>
                            <a:pt x="98" y="938"/>
                            <a:pt x="80" y="938"/>
                          </a:cubicBezTo>
                          <a:cubicBezTo>
                            <a:pt x="64" y="939"/>
                            <a:pt x="41" y="938"/>
                            <a:pt x="27" y="939"/>
                          </a:cubicBezTo>
                          <a:cubicBezTo>
                            <a:pt x="21" y="939"/>
                            <a:pt x="12" y="939"/>
                            <a:pt x="2" y="939"/>
                          </a:cubicBezTo>
                          <a:cubicBezTo>
                            <a:pt x="3" y="939"/>
                            <a:pt x="4" y="940"/>
                            <a:pt x="5" y="941"/>
                          </a:cubicBezTo>
                          <a:cubicBezTo>
                            <a:pt x="5" y="934"/>
                            <a:pt x="5" y="927"/>
                            <a:pt x="4" y="920"/>
                          </a:cubicBezTo>
                          <a:cubicBezTo>
                            <a:pt x="5" y="922"/>
                            <a:pt x="5" y="922"/>
                            <a:pt x="5" y="922"/>
                          </a:cubicBezTo>
                          <a:cubicBezTo>
                            <a:pt x="5" y="904"/>
                            <a:pt x="4" y="881"/>
                            <a:pt x="4" y="869"/>
                          </a:cubicBezTo>
                          <a:cubicBezTo>
                            <a:pt x="5" y="864"/>
                            <a:pt x="5" y="856"/>
                            <a:pt x="5" y="848"/>
                          </a:cubicBezTo>
                          <a:cubicBezTo>
                            <a:pt x="4" y="836"/>
                            <a:pt x="5" y="812"/>
                            <a:pt x="4" y="793"/>
                          </a:cubicBezTo>
                          <a:cubicBezTo>
                            <a:pt x="5" y="791"/>
                            <a:pt x="4" y="778"/>
                            <a:pt x="5" y="777"/>
                          </a:cubicBezTo>
                          <a:cubicBezTo>
                            <a:pt x="3" y="726"/>
                            <a:pt x="4" y="663"/>
                            <a:pt x="5" y="608"/>
                          </a:cubicBezTo>
                          <a:cubicBezTo>
                            <a:pt x="5" y="609"/>
                            <a:pt x="5" y="609"/>
                            <a:pt x="5" y="609"/>
                          </a:cubicBezTo>
                          <a:cubicBezTo>
                            <a:pt x="4" y="602"/>
                            <a:pt x="4" y="593"/>
                            <a:pt x="3" y="586"/>
                          </a:cubicBezTo>
                          <a:cubicBezTo>
                            <a:pt x="3" y="585"/>
                            <a:pt x="3" y="585"/>
                            <a:pt x="3" y="587"/>
                          </a:cubicBezTo>
                          <a:cubicBezTo>
                            <a:pt x="3" y="577"/>
                            <a:pt x="4" y="568"/>
                            <a:pt x="4" y="558"/>
                          </a:cubicBezTo>
                          <a:cubicBezTo>
                            <a:pt x="4" y="558"/>
                            <a:pt x="4" y="558"/>
                            <a:pt x="4" y="559"/>
                          </a:cubicBezTo>
                          <a:cubicBezTo>
                            <a:pt x="4" y="550"/>
                            <a:pt x="5" y="540"/>
                            <a:pt x="4" y="529"/>
                          </a:cubicBezTo>
                          <a:cubicBezTo>
                            <a:pt x="4" y="528"/>
                            <a:pt x="4" y="528"/>
                            <a:pt x="4" y="528"/>
                          </a:cubicBezTo>
                          <a:cubicBezTo>
                            <a:pt x="4" y="521"/>
                            <a:pt x="4" y="521"/>
                            <a:pt x="4" y="521"/>
                          </a:cubicBezTo>
                          <a:cubicBezTo>
                            <a:pt x="4" y="521"/>
                            <a:pt x="4" y="522"/>
                            <a:pt x="4" y="525"/>
                          </a:cubicBezTo>
                          <a:cubicBezTo>
                            <a:pt x="5" y="439"/>
                            <a:pt x="3" y="351"/>
                            <a:pt x="3" y="263"/>
                          </a:cubicBezTo>
                          <a:cubicBezTo>
                            <a:pt x="4" y="266"/>
                            <a:pt x="4" y="266"/>
                            <a:pt x="4" y="266"/>
                          </a:cubicBezTo>
                          <a:cubicBezTo>
                            <a:pt x="3" y="249"/>
                            <a:pt x="3" y="249"/>
                            <a:pt x="3" y="249"/>
                          </a:cubicBezTo>
                          <a:cubicBezTo>
                            <a:pt x="3" y="249"/>
                            <a:pt x="3" y="250"/>
                            <a:pt x="4" y="250"/>
                          </a:cubicBezTo>
                          <a:cubicBezTo>
                            <a:pt x="4" y="229"/>
                            <a:pt x="3" y="206"/>
                            <a:pt x="3" y="185"/>
                          </a:cubicBezTo>
                          <a:cubicBezTo>
                            <a:pt x="4" y="185"/>
                            <a:pt x="4" y="188"/>
                            <a:pt x="4" y="185"/>
                          </a:cubicBezTo>
                          <a:cubicBezTo>
                            <a:pt x="3" y="169"/>
                            <a:pt x="5" y="160"/>
                            <a:pt x="3" y="152"/>
                          </a:cubicBezTo>
                          <a:cubicBezTo>
                            <a:pt x="3" y="151"/>
                            <a:pt x="4" y="151"/>
                            <a:pt x="4" y="152"/>
                          </a:cubicBezTo>
                          <a:cubicBezTo>
                            <a:pt x="3" y="109"/>
                            <a:pt x="3" y="64"/>
                            <a:pt x="4" y="20"/>
                          </a:cubicBezTo>
                          <a:cubicBezTo>
                            <a:pt x="3" y="14"/>
                            <a:pt x="3" y="8"/>
                            <a:pt x="3" y="2"/>
                          </a:cubicBezTo>
                          <a:cubicBezTo>
                            <a:pt x="3" y="2"/>
                            <a:pt x="3" y="3"/>
                            <a:pt x="2" y="3"/>
                          </a:cubicBezTo>
                          <a:cubicBezTo>
                            <a:pt x="34" y="2"/>
                            <a:pt x="68" y="3"/>
                            <a:pt x="100" y="2"/>
                          </a:cubicBezTo>
                          <a:cubicBezTo>
                            <a:pt x="100" y="3"/>
                            <a:pt x="100" y="3"/>
                            <a:pt x="100" y="3"/>
                          </a:cubicBezTo>
                          <a:cubicBezTo>
                            <a:pt x="149" y="2"/>
                            <a:pt x="202" y="3"/>
                            <a:pt x="253" y="2"/>
                          </a:cubicBezTo>
                          <a:cubicBezTo>
                            <a:pt x="274" y="3"/>
                            <a:pt x="288" y="2"/>
                            <a:pt x="310" y="2"/>
                          </a:cubicBezTo>
                          <a:cubicBezTo>
                            <a:pt x="310" y="3"/>
                            <a:pt x="310" y="3"/>
                            <a:pt x="310" y="3"/>
                          </a:cubicBezTo>
                          <a:cubicBezTo>
                            <a:pt x="330" y="2"/>
                            <a:pt x="351" y="2"/>
                            <a:pt x="372" y="3"/>
                          </a:cubicBezTo>
                          <a:cubicBezTo>
                            <a:pt x="372" y="2"/>
                            <a:pt x="372" y="2"/>
                            <a:pt x="372" y="2"/>
                          </a:cubicBezTo>
                          <a:cubicBezTo>
                            <a:pt x="371" y="19"/>
                            <a:pt x="371" y="36"/>
                            <a:pt x="372" y="53"/>
                          </a:cubicBezTo>
                          <a:cubicBezTo>
                            <a:pt x="371" y="51"/>
                            <a:pt x="371" y="51"/>
                            <a:pt x="371" y="51"/>
                          </a:cubicBezTo>
                          <a:cubicBezTo>
                            <a:pt x="372" y="56"/>
                            <a:pt x="371" y="73"/>
                            <a:pt x="372" y="71"/>
                          </a:cubicBezTo>
                          <a:cubicBezTo>
                            <a:pt x="372" y="78"/>
                            <a:pt x="372" y="78"/>
                            <a:pt x="372" y="78"/>
                          </a:cubicBezTo>
                          <a:cubicBezTo>
                            <a:pt x="374" y="103"/>
                            <a:pt x="371" y="124"/>
                            <a:pt x="372" y="155"/>
                          </a:cubicBezTo>
                          <a:cubicBezTo>
                            <a:pt x="372" y="153"/>
                            <a:pt x="372" y="153"/>
                            <a:pt x="372" y="153"/>
                          </a:cubicBezTo>
                          <a:cubicBezTo>
                            <a:pt x="372" y="161"/>
                            <a:pt x="372" y="171"/>
                            <a:pt x="372" y="177"/>
                          </a:cubicBezTo>
                          <a:cubicBezTo>
                            <a:pt x="372" y="176"/>
                            <a:pt x="372" y="177"/>
                            <a:pt x="372" y="175"/>
                          </a:cubicBezTo>
                          <a:cubicBezTo>
                            <a:pt x="371" y="201"/>
                            <a:pt x="372" y="230"/>
                            <a:pt x="372" y="257"/>
                          </a:cubicBezTo>
                          <a:cubicBezTo>
                            <a:pt x="371" y="254"/>
                            <a:pt x="371" y="254"/>
                            <a:pt x="371" y="254"/>
                          </a:cubicBezTo>
                          <a:cubicBezTo>
                            <a:pt x="372" y="267"/>
                            <a:pt x="372" y="292"/>
                            <a:pt x="372" y="309"/>
                          </a:cubicBezTo>
                          <a:cubicBezTo>
                            <a:pt x="372" y="308"/>
                            <a:pt x="372" y="308"/>
                            <a:pt x="372" y="308"/>
                          </a:cubicBezTo>
                          <a:cubicBezTo>
                            <a:pt x="372" y="317"/>
                            <a:pt x="372" y="317"/>
                            <a:pt x="372" y="317"/>
                          </a:cubicBezTo>
                          <a:cubicBezTo>
                            <a:pt x="371" y="317"/>
                            <a:pt x="371" y="317"/>
                            <a:pt x="371" y="317"/>
                          </a:cubicBezTo>
                          <a:cubicBezTo>
                            <a:pt x="371" y="340"/>
                            <a:pt x="372" y="361"/>
                            <a:pt x="372" y="383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>
                      <a:solidFill>
                        <a:schemeClr val="tx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80682" tIns="40341" rIns="80682" bIns="4034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8990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12" name="Group 11"/>
                    <p:cNvGrpSpPr/>
                    <p:nvPr/>
                  </p:nvGrpSpPr>
                  <p:grpSpPr>
                    <a:xfrm>
                      <a:off x="6700574" y="2987040"/>
                      <a:ext cx="436889" cy="548881"/>
                      <a:chOff x="7444998" y="3483078"/>
                      <a:chExt cx="227304" cy="358953"/>
                    </a:xfrm>
                  </p:grpSpPr>
                  <p:pic>
                    <p:nvPicPr>
                      <p:cNvPr id="10" name="Picture 9"/>
                      <p:cNvPicPr>
                        <a:picLocks noChangeAspect="1"/>
                      </p:cNvPicPr>
                      <p:nvPr/>
                    </p:nvPicPr>
                    <p:blipFill>
                      <a:blip r:embed="rId15" cstate="email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5100000">
                        <a:off x="7463814" y="3633543"/>
                        <a:ext cx="350051" cy="66925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11" name="Picture 10"/>
                      <p:cNvPicPr>
                        <a:picLocks noChangeAspect="1"/>
                      </p:cNvPicPr>
                      <p:nvPr/>
                    </p:nvPicPr>
                    <p:blipFill>
                      <a:blip r:embed="rId8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</a:blip>
                      <a:stretch>
                        <a:fillRect/>
                      </a:stretch>
                    </p:blipFill>
                    <p:spPr>
                      <a:xfrm rot="10620000">
                        <a:off x="7444998" y="3483078"/>
                        <a:ext cx="227050" cy="25807"/>
                      </a:xfrm>
                      <a:prstGeom prst="rect">
                        <a:avLst/>
                      </a:prstGeom>
                    </p:spPr>
                  </p:pic>
                </p:grpSp>
              </p:grpSp>
              <p:pic>
                <p:nvPicPr>
                  <p:cNvPr id="17" name="Picture 16"/>
                  <p:cNvPicPr>
                    <a:picLocks noChangeAspect="1"/>
                  </p:cNvPicPr>
                  <p:nvPr/>
                </p:nvPicPr>
                <p:blipFill>
                  <a:blip r:embed="rId16" cstate="email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 rot="5100000">
                    <a:off x="5877774" y="3494804"/>
                    <a:ext cx="365597" cy="87857"/>
                  </a:xfrm>
                  <a:prstGeom prst="rect">
                    <a:avLst/>
                  </a:prstGeom>
                </p:spPr>
              </p:pic>
              <p:sp>
                <p:nvSpPr>
                  <p:cNvPr id="18" name="Freeform 17"/>
                  <p:cNvSpPr>
                    <a:spLocks/>
                  </p:cNvSpPr>
                  <p:nvPr/>
                </p:nvSpPr>
                <p:spPr bwMode="auto">
                  <a:xfrm>
                    <a:off x="5860258" y="3724663"/>
                    <a:ext cx="513569" cy="276445"/>
                  </a:xfrm>
                  <a:custGeom>
                    <a:avLst/>
                    <a:gdLst>
                      <a:gd name="T0" fmla="*/ 371 w 379"/>
                      <a:gd name="T1" fmla="*/ 382 h 943"/>
                      <a:gd name="T2" fmla="*/ 372 w 379"/>
                      <a:gd name="T3" fmla="*/ 446 h 943"/>
                      <a:gd name="T4" fmla="*/ 372 w 379"/>
                      <a:gd name="T5" fmla="*/ 605 h 943"/>
                      <a:gd name="T6" fmla="*/ 372 w 379"/>
                      <a:gd name="T7" fmla="*/ 612 h 943"/>
                      <a:gd name="T8" fmla="*/ 373 w 379"/>
                      <a:gd name="T9" fmla="*/ 656 h 943"/>
                      <a:gd name="T10" fmla="*/ 373 w 379"/>
                      <a:gd name="T11" fmla="*/ 790 h 943"/>
                      <a:gd name="T12" fmla="*/ 374 w 379"/>
                      <a:gd name="T13" fmla="*/ 905 h 943"/>
                      <a:gd name="T14" fmla="*/ 375 w 379"/>
                      <a:gd name="T15" fmla="*/ 873 h 943"/>
                      <a:gd name="T16" fmla="*/ 375 w 379"/>
                      <a:gd name="T17" fmla="*/ 862 h 943"/>
                      <a:gd name="T18" fmla="*/ 375 w 379"/>
                      <a:gd name="T19" fmla="*/ 786 h 943"/>
                      <a:gd name="T20" fmla="*/ 374 w 379"/>
                      <a:gd name="T21" fmla="*/ 591 h 943"/>
                      <a:gd name="T22" fmla="*/ 374 w 379"/>
                      <a:gd name="T23" fmla="*/ 493 h 943"/>
                      <a:gd name="T24" fmla="*/ 373 w 379"/>
                      <a:gd name="T25" fmla="*/ 441 h 943"/>
                      <a:gd name="T26" fmla="*/ 374 w 379"/>
                      <a:gd name="T27" fmla="*/ 2 h 943"/>
                      <a:gd name="T28" fmla="*/ 372 w 379"/>
                      <a:gd name="T29" fmla="*/ 0 h 943"/>
                      <a:gd name="T30" fmla="*/ 305 w 379"/>
                      <a:gd name="T31" fmla="*/ 1 h 943"/>
                      <a:gd name="T32" fmla="*/ 231 w 379"/>
                      <a:gd name="T33" fmla="*/ 1 h 943"/>
                      <a:gd name="T34" fmla="*/ 2 w 379"/>
                      <a:gd name="T35" fmla="*/ 2 h 943"/>
                      <a:gd name="T36" fmla="*/ 2 w 379"/>
                      <a:gd name="T37" fmla="*/ 2 h 943"/>
                      <a:gd name="T38" fmla="*/ 2 w 379"/>
                      <a:gd name="T39" fmla="*/ 187 h 943"/>
                      <a:gd name="T40" fmla="*/ 2 w 379"/>
                      <a:gd name="T41" fmla="*/ 557 h 943"/>
                      <a:gd name="T42" fmla="*/ 3 w 379"/>
                      <a:gd name="T43" fmla="*/ 905 h 943"/>
                      <a:gd name="T44" fmla="*/ 2 w 379"/>
                      <a:gd name="T45" fmla="*/ 941 h 943"/>
                      <a:gd name="T46" fmla="*/ 272 w 379"/>
                      <a:gd name="T47" fmla="*/ 942 h 943"/>
                      <a:gd name="T48" fmla="*/ 307 w 379"/>
                      <a:gd name="T49" fmla="*/ 941 h 943"/>
                      <a:gd name="T50" fmla="*/ 325 w 379"/>
                      <a:gd name="T51" fmla="*/ 941 h 943"/>
                      <a:gd name="T52" fmla="*/ 334 w 379"/>
                      <a:gd name="T53" fmla="*/ 941 h 943"/>
                      <a:gd name="T54" fmla="*/ 360 w 379"/>
                      <a:gd name="T55" fmla="*/ 942 h 943"/>
                      <a:gd name="T56" fmla="*/ 372 w 379"/>
                      <a:gd name="T57" fmla="*/ 942 h 943"/>
                      <a:gd name="T58" fmla="*/ 369 w 379"/>
                      <a:gd name="T59" fmla="*/ 941 h 943"/>
                      <a:gd name="T60" fmla="*/ 346 w 379"/>
                      <a:gd name="T61" fmla="*/ 939 h 943"/>
                      <a:gd name="T62" fmla="*/ 329 w 379"/>
                      <a:gd name="T63" fmla="*/ 939 h 943"/>
                      <a:gd name="T64" fmla="*/ 318 w 379"/>
                      <a:gd name="T65" fmla="*/ 939 h 943"/>
                      <a:gd name="T66" fmla="*/ 233 w 379"/>
                      <a:gd name="T67" fmla="*/ 940 h 943"/>
                      <a:gd name="T68" fmla="*/ 204 w 379"/>
                      <a:gd name="T69" fmla="*/ 939 h 943"/>
                      <a:gd name="T70" fmla="*/ 146 w 379"/>
                      <a:gd name="T71" fmla="*/ 939 h 943"/>
                      <a:gd name="T72" fmla="*/ 80 w 379"/>
                      <a:gd name="T73" fmla="*/ 938 h 943"/>
                      <a:gd name="T74" fmla="*/ 2 w 379"/>
                      <a:gd name="T75" fmla="*/ 939 h 943"/>
                      <a:gd name="T76" fmla="*/ 4 w 379"/>
                      <a:gd name="T77" fmla="*/ 920 h 943"/>
                      <a:gd name="T78" fmla="*/ 4 w 379"/>
                      <a:gd name="T79" fmla="*/ 869 h 943"/>
                      <a:gd name="T80" fmla="*/ 4 w 379"/>
                      <a:gd name="T81" fmla="*/ 793 h 943"/>
                      <a:gd name="T82" fmla="*/ 5 w 379"/>
                      <a:gd name="T83" fmla="*/ 608 h 943"/>
                      <a:gd name="T84" fmla="*/ 3 w 379"/>
                      <a:gd name="T85" fmla="*/ 586 h 943"/>
                      <a:gd name="T86" fmla="*/ 4 w 379"/>
                      <a:gd name="T87" fmla="*/ 558 h 943"/>
                      <a:gd name="T88" fmla="*/ 4 w 379"/>
                      <a:gd name="T89" fmla="*/ 529 h 943"/>
                      <a:gd name="T90" fmla="*/ 4 w 379"/>
                      <a:gd name="T91" fmla="*/ 521 h 943"/>
                      <a:gd name="T92" fmla="*/ 3 w 379"/>
                      <a:gd name="T93" fmla="*/ 263 h 943"/>
                      <a:gd name="T94" fmla="*/ 3 w 379"/>
                      <a:gd name="T95" fmla="*/ 249 h 943"/>
                      <a:gd name="T96" fmla="*/ 3 w 379"/>
                      <a:gd name="T97" fmla="*/ 185 h 943"/>
                      <a:gd name="T98" fmla="*/ 3 w 379"/>
                      <a:gd name="T99" fmla="*/ 152 h 943"/>
                      <a:gd name="T100" fmla="*/ 4 w 379"/>
                      <a:gd name="T101" fmla="*/ 20 h 943"/>
                      <a:gd name="T102" fmla="*/ 2 w 379"/>
                      <a:gd name="T103" fmla="*/ 3 h 943"/>
                      <a:gd name="T104" fmla="*/ 100 w 379"/>
                      <a:gd name="T105" fmla="*/ 3 h 943"/>
                      <a:gd name="T106" fmla="*/ 310 w 379"/>
                      <a:gd name="T107" fmla="*/ 2 h 943"/>
                      <a:gd name="T108" fmla="*/ 372 w 379"/>
                      <a:gd name="T109" fmla="*/ 3 h 943"/>
                      <a:gd name="T110" fmla="*/ 372 w 379"/>
                      <a:gd name="T111" fmla="*/ 53 h 943"/>
                      <a:gd name="T112" fmla="*/ 372 w 379"/>
                      <a:gd name="T113" fmla="*/ 71 h 943"/>
                      <a:gd name="T114" fmla="*/ 372 w 379"/>
                      <a:gd name="T115" fmla="*/ 155 h 943"/>
                      <a:gd name="T116" fmla="*/ 372 w 379"/>
                      <a:gd name="T117" fmla="*/ 177 h 943"/>
                      <a:gd name="T118" fmla="*/ 372 w 379"/>
                      <a:gd name="T119" fmla="*/ 257 h 943"/>
                      <a:gd name="T120" fmla="*/ 372 w 379"/>
                      <a:gd name="T121" fmla="*/ 309 h 943"/>
                      <a:gd name="T122" fmla="*/ 372 w 379"/>
                      <a:gd name="T123" fmla="*/ 317 h 943"/>
                      <a:gd name="T124" fmla="*/ 372 w 379"/>
                      <a:gd name="T125" fmla="*/ 383 h 9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379" h="943">
                        <a:moveTo>
                          <a:pt x="372" y="383"/>
                        </a:moveTo>
                        <a:cubicBezTo>
                          <a:pt x="371" y="382"/>
                          <a:pt x="371" y="382"/>
                          <a:pt x="371" y="382"/>
                        </a:cubicBezTo>
                        <a:cubicBezTo>
                          <a:pt x="372" y="403"/>
                          <a:pt x="371" y="426"/>
                          <a:pt x="372" y="448"/>
                        </a:cubicBezTo>
                        <a:cubicBezTo>
                          <a:pt x="372" y="446"/>
                          <a:pt x="372" y="446"/>
                          <a:pt x="372" y="446"/>
                        </a:cubicBezTo>
                        <a:cubicBezTo>
                          <a:pt x="371" y="501"/>
                          <a:pt x="372" y="552"/>
                          <a:pt x="372" y="607"/>
                        </a:cubicBezTo>
                        <a:cubicBezTo>
                          <a:pt x="372" y="606"/>
                          <a:pt x="372" y="606"/>
                          <a:pt x="372" y="605"/>
                        </a:cubicBezTo>
                        <a:cubicBezTo>
                          <a:pt x="372" y="608"/>
                          <a:pt x="373" y="611"/>
                          <a:pt x="373" y="614"/>
                        </a:cubicBezTo>
                        <a:cubicBezTo>
                          <a:pt x="373" y="614"/>
                          <a:pt x="372" y="613"/>
                          <a:pt x="372" y="612"/>
                        </a:cubicBezTo>
                        <a:cubicBezTo>
                          <a:pt x="372" y="623"/>
                          <a:pt x="373" y="646"/>
                          <a:pt x="372" y="653"/>
                        </a:cubicBezTo>
                        <a:cubicBezTo>
                          <a:pt x="372" y="656"/>
                          <a:pt x="373" y="658"/>
                          <a:pt x="373" y="656"/>
                        </a:cubicBezTo>
                        <a:cubicBezTo>
                          <a:pt x="373" y="699"/>
                          <a:pt x="373" y="745"/>
                          <a:pt x="374" y="788"/>
                        </a:cubicBezTo>
                        <a:cubicBezTo>
                          <a:pt x="374" y="790"/>
                          <a:pt x="374" y="791"/>
                          <a:pt x="373" y="790"/>
                        </a:cubicBezTo>
                        <a:cubicBezTo>
                          <a:pt x="374" y="828"/>
                          <a:pt x="374" y="867"/>
                          <a:pt x="374" y="905"/>
                        </a:cubicBezTo>
                        <a:cubicBezTo>
                          <a:pt x="374" y="906"/>
                          <a:pt x="374" y="901"/>
                          <a:pt x="374" y="905"/>
                        </a:cubicBezTo>
                        <a:cubicBezTo>
                          <a:pt x="375" y="893"/>
                          <a:pt x="374" y="882"/>
                          <a:pt x="374" y="871"/>
                        </a:cubicBezTo>
                        <a:cubicBezTo>
                          <a:pt x="375" y="873"/>
                          <a:pt x="375" y="873"/>
                          <a:pt x="375" y="873"/>
                        </a:cubicBezTo>
                        <a:cubicBezTo>
                          <a:pt x="375" y="865"/>
                          <a:pt x="374" y="871"/>
                          <a:pt x="374" y="863"/>
                        </a:cubicBezTo>
                        <a:cubicBezTo>
                          <a:pt x="374" y="859"/>
                          <a:pt x="375" y="863"/>
                          <a:pt x="375" y="862"/>
                        </a:cubicBezTo>
                        <a:cubicBezTo>
                          <a:pt x="374" y="845"/>
                          <a:pt x="375" y="827"/>
                          <a:pt x="374" y="810"/>
                        </a:cubicBezTo>
                        <a:cubicBezTo>
                          <a:pt x="375" y="806"/>
                          <a:pt x="374" y="792"/>
                          <a:pt x="375" y="786"/>
                        </a:cubicBezTo>
                        <a:cubicBezTo>
                          <a:pt x="374" y="781"/>
                          <a:pt x="374" y="777"/>
                          <a:pt x="374" y="775"/>
                        </a:cubicBezTo>
                        <a:cubicBezTo>
                          <a:pt x="374" y="715"/>
                          <a:pt x="374" y="653"/>
                          <a:pt x="374" y="591"/>
                        </a:cubicBezTo>
                        <a:cubicBezTo>
                          <a:pt x="373" y="562"/>
                          <a:pt x="374" y="528"/>
                          <a:pt x="374" y="493"/>
                        </a:cubicBezTo>
                        <a:cubicBezTo>
                          <a:pt x="374" y="493"/>
                          <a:pt x="374" y="493"/>
                          <a:pt x="374" y="493"/>
                        </a:cubicBezTo>
                        <a:cubicBezTo>
                          <a:pt x="373" y="482"/>
                          <a:pt x="373" y="466"/>
                          <a:pt x="373" y="453"/>
                        </a:cubicBezTo>
                        <a:cubicBezTo>
                          <a:pt x="373" y="441"/>
                          <a:pt x="373" y="441"/>
                          <a:pt x="373" y="441"/>
                        </a:cubicBezTo>
                        <a:cubicBezTo>
                          <a:pt x="374" y="361"/>
                          <a:pt x="373" y="279"/>
                          <a:pt x="374" y="197"/>
                        </a:cubicBezTo>
                        <a:cubicBezTo>
                          <a:pt x="374" y="129"/>
                          <a:pt x="374" y="66"/>
                          <a:pt x="374" y="2"/>
                        </a:cubicBezTo>
                        <a:cubicBezTo>
                          <a:pt x="374" y="0"/>
                          <a:pt x="374" y="0"/>
                          <a:pt x="374" y="0"/>
                        </a:cubicBezTo>
                        <a:cubicBezTo>
                          <a:pt x="372" y="0"/>
                          <a:pt x="372" y="0"/>
                          <a:pt x="372" y="0"/>
                        </a:cubicBezTo>
                        <a:cubicBezTo>
                          <a:pt x="350" y="0"/>
                          <a:pt x="327" y="0"/>
                          <a:pt x="303" y="1"/>
                        </a:cubicBezTo>
                        <a:cubicBezTo>
                          <a:pt x="303" y="1"/>
                          <a:pt x="303" y="1"/>
                          <a:pt x="305" y="1"/>
                        </a:cubicBezTo>
                        <a:cubicBezTo>
                          <a:pt x="279" y="1"/>
                          <a:pt x="255" y="0"/>
                          <a:pt x="231" y="1"/>
                        </a:cubicBezTo>
                        <a:cubicBezTo>
                          <a:pt x="231" y="1"/>
                          <a:pt x="231" y="1"/>
                          <a:pt x="231" y="1"/>
                        </a:cubicBezTo>
                        <a:cubicBezTo>
                          <a:pt x="170" y="2"/>
                          <a:pt x="104" y="0"/>
                          <a:pt x="45" y="2"/>
                        </a:cubicBezTo>
                        <a:cubicBezTo>
                          <a:pt x="32" y="2"/>
                          <a:pt x="18" y="2"/>
                          <a:pt x="2" y="2"/>
                        </a:cubicBezTo>
                        <a:cubicBezTo>
                          <a:pt x="2" y="2"/>
                          <a:pt x="2" y="2"/>
                          <a:pt x="2" y="2"/>
                        </a:cubicBezTo>
                        <a:cubicBezTo>
                          <a:pt x="2" y="2"/>
                          <a:pt x="2" y="2"/>
                          <a:pt x="2" y="2"/>
                        </a:cubicBezTo>
                        <a:cubicBezTo>
                          <a:pt x="2" y="61"/>
                          <a:pt x="2" y="126"/>
                          <a:pt x="2" y="187"/>
                        </a:cubicBezTo>
                        <a:cubicBezTo>
                          <a:pt x="2" y="187"/>
                          <a:pt x="2" y="187"/>
                          <a:pt x="2" y="187"/>
                        </a:cubicBezTo>
                        <a:cubicBezTo>
                          <a:pt x="2" y="247"/>
                          <a:pt x="1" y="306"/>
                          <a:pt x="1" y="366"/>
                        </a:cubicBezTo>
                        <a:cubicBezTo>
                          <a:pt x="1" y="428"/>
                          <a:pt x="3" y="494"/>
                          <a:pt x="2" y="557"/>
                        </a:cubicBezTo>
                        <a:cubicBezTo>
                          <a:pt x="1" y="595"/>
                          <a:pt x="4" y="646"/>
                          <a:pt x="2" y="683"/>
                        </a:cubicBezTo>
                        <a:cubicBezTo>
                          <a:pt x="0" y="757"/>
                          <a:pt x="2" y="830"/>
                          <a:pt x="3" y="905"/>
                        </a:cubicBezTo>
                        <a:cubicBezTo>
                          <a:pt x="3" y="917"/>
                          <a:pt x="3" y="929"/>
                          <a:pt x="3" y="941"/>
                        </a:cubicBezTo>
                        <a:cubicBezTo>
                          <a:pt x="2" y="941"/>
                          <a:pt x="2" y="941"/>
                          <a:pt x="2" y="941"/>
                        </a:cubicBezTo>
                        <a:cubicBezTo>
                          <a:pt x="59" y="941"/>
                          <a:pt x="115" y="940"/>
                          <a:pt x="171" y="941"/>
                        </a:cubicBezTo>
                        <a:cubicBezTo>
                          <a:pt x="202" y="940"/>
                          <a:pt x="237" y="942"/>
                          <a:pt x="272" y="942"/>
                        </a:cubicBezTo>
                        <a:cubicBezTo>
                          <a:pt x="271" y="941"/>
                          <a:pt x="271" y="941"/>
                          <a:pt x="271" y="941"/>
                        </a:cubicBezTo>
                        <a:cubicBezTo>
                          <a:pt x="284" y="942"/>
                          <a:pt x="299" y="940"/>
                          <a:pt x="307" y="941"/>
                        </a:cubicBezTo>
                        <a:cubicBezTo>
                          <a:pt x="306" y="941"/>
                          <a:pt x="306" y="941"/>
                          <a:pt x="306" y="941"/>
                        </a:cubicBezTo>
                        <a:cubicBezTo>
                          <a:pt x="313" y="942"/>
                          <a:pt x="321" y="940"/>
                          <a:pt x="325" y="941"/>
                        </a:cubicBezTo>
                        <a:cubicBezTo>
                          <a:pt x="327" y="940"/>
                          <a:pt x="327" y="940"/>
                          <a:pt x="327" y="940"/>
                        </a:cubicBezTo>
                        <a:cubicBezTo>
                          <a:pt x="335" y="940"/>
                          <a:pt x="327" y="941"/>
                          <a:pt x="334" y="941"/>
                        </a:cubicBezTo>
                        <a:cubicBezTo>
                          <a:pt x="336" y="941"/>
                          <a:pt x="335" y="940"/>
                          <a:pt x="340" y="940"/>
                        </a:cubicBezTo>
                        <a:cubicBezTo>
                          <a:pt x="341" y="942"/>
                          <a:pt x="359" y="940"/>
                          <a:pt x="360" y="942"/>
                        </a:cubicBezTo>
                        <a:cubicBezTo>
                          <a:pt x="356" y="942"/>
                          <a:pt x="367" y="942"/>
                          <a:pt x="357" y="943"/>
                        </a:cubicBezTo>
                        <a:cubicBezTo>
                          <a:pt x="360" y="943"/>
                          <a:pt x="373" y="943"/>
                          <a:pt x="372" y="942"/>
                        </a:cubicBezTo>
                        <a:cubicBezTo>
                          <a:pt x="373" y="941"/>
                          <a:pt x="379" y="941"/>
                          <a:pt x="370" y="940"/>
                        </a:cubicBezTo>
                        <a:cubicBezTo>
                          <a:pt x="369" y="941"/>
                          <a:pt x="369" y="941"/>
                          <a:pt x="369" y="941"/>
                        </a:cubicBezTo>
                        <a:cubicBezTo>
                          <a:pt x="366" y="940"/>
                          <a:pt x="367" y="940"/>
                          <a:pt x="366" y="940"/>
                        </a:cubicBezTo>
                        <a:cubicBezTo>
                          <a:pt x="355" y="940"/>
                          <a:pt x="353" y="939"/>
                          <a:pt x="346" y="939"/>
                        </a:cubicBezTo>
                        <a:cubicBezTo>
                          <a:pt x="346" y="939"/>
                          <a:pt x="346" y="939"/>
                          <a:pt x="346" y="939"/>
                        </a:cubicBezTo>
                        <a:cubicBezTo>
                          <a:pt x="340" y="940"/>
                          <a:pt x="333" y="939"/>
                          <a:pt x="329" y="939"/>
                        </a:cubicBezTo>
                        <a:cubicBezTo>
                          <a:pt x="327" y="939"/>
                          <a:pt x="327" y="939"/>
                          <a:pt x="327" y="939"/>
                        </a:cubicBezTo>
                        <a:cubicBezTo>
                          <a:pt x="325" y="938"/>
                          <a:pt x="315" y="940"/>
                          <a:pt x="318" y="939"/>
                        </a:cubicBezTo>
                        <a:cubicBezTo>
                          <a:pt x="296" y="939"/>
                          <a:pt x="271" y="939"/>
                          <a:pt x="247" y="939"/>
                        </a:cubicBezTo>
                        <a:cubicBezTo>
                          <a:pt x="243" y="940"/>
                          <a:pt x="228" y="939"/>
                          <a:pt x="233" y="940"/>
                        </a:cubicBezTo>
                        <a:cubicBezTo>
                          <a:pt x="227" y="939"/>
                          <a:pt x="209" y="939"/>
                          <a:pt x="202" y="939"/>
                        </a:cubicBezTo>
                        <a:cubicBezTo>
                          <a:pt x="202" y="939"/>
                          <a:pt x="203" y="939"/>
                          <a:pt x="204" y="939"/>
                        </a:cubicBezTo>
                        <a:cubicBezTo>
                          <a:pt x="191" y="938"/>
                          <a:pt x="188" y="940"/>
                          <a:pt x="176" y="938"/>
                        </a:cubicBezTo>
                        <a:cubicBezTo>
                          <a:pt x="174" y="939"/>
                          <a:pt x="153" y="938"/>
                          <a:pt x="146" y="939"/>
                        </a:cubicBezTo>
                        <a:cubicBezTo>
                          <a:pt x="145" y="939"/>
                          <a:pt x="144" y="939"/>
                          <a:pt x="145" y="939"/>
                        </a:cubicBezTo>
                        <a:cubicBezTo>
                          <a:pt x="123" y="939"/>
                          <a:pt x="98" y="938"/>
                          <a:pt x="80" y="938"/>
                        </a:cubicBezTo>
                        <a:cubicBezTo>
                          <a:pt x="64" y="939"/>
                          <a:pt x="41" y="938"/>
                          <a:pt x="27" y="939"/>
                        </a:cubicBezTo>
                        <a:cubicBezTo>
                          <a:pt x="21" y="939"/>
                          <a:pt x="12" y="939"/>
                          <a:pt x="2" y="939"/>
                        </a:cubicBezTo>
                        <a:cubicBezTo>
                          <a:pt x="3" y="939"/>
                          <a:pt x="4" y="940"/>
                          <a:pt x="5" y="941"/>
                        </a:cubicBezTo>
                        <a:cubicBezTo>
                          <a:pt x="5" y="934"/>
                          <a:pt x="5" y="927"/>
                          <a:pt x="4" y="920"/>
                        </a:cubicBezTo>
                        <a:cubicBezTo>
                          <a:pt x="5" y="922"/>
                          <a:pt x="5" y="922"/>
                          <a:pt x="5" y="922"/>
                        </a:cubicBezTo>
                        <a:cubicBezTo>
                          <a:pt x="5" y="904"/>
                          <a:pt x="4" y="881"/>
                          <a:pt x="4" y="869"/>
                        </a:cubicBezTo>
                        <a:cubicBezTo>
                          <a:pt x="5" y="864"/>
                          <a:pt x="5" y="856"/>
                          <a:pt x="5" y="848"/>
                        </a:cubicBezTo>
                        <a:cubicBezTo>
                          <a:pt x="4" y="836"/>
                          <a:pt x="5" y="812"/>
                          <a:pt x="4" y="793"/>
                        </a:cubicBezTo>
                        <a:cubicBezTo>
                          <a:pt x="5" y="791"/>
                          <a:pt x="4" y="778"/>
                          <a:pt x="5" y="777"/>
                        </a:cubicBezTo>
                        <a:cubicBezTo>
                          <a:pt x="3" y="726"/>
                          <a:pt x="4" y="663"/>
                          <a:pt x="5" y="608"/>
                        </a:cubicBezTo>
                        <a:cubicBezTo>
                          <a:pt x="5" y="609"/>
                          <a:pt x="5" y="609"/>
                          <a:pt x="5" y="609"/>
                        </a:cubicBezTo>
                        <a:cubicBezTo>
                          <a:pt x="4" y="602"/>
                          <a:pt x="4" y="593"/>
                          <a:pt x="3" y="586"/>
                        </a:cubicBezTo>
                        <a:cubicBezTo>
                          <a:pt x="3" y="585"/>
                          <a:pt x="3" y="585"/>
                          <a:pt x="3" y="587"/>
                        </a:cubicBezTo>
                        <a:cubicBezTo>
                          <a:pt x="3" y="577"/>
                          <a:pt x="4" y="568"/>
                          <a:pt x="4" y="558"/>
                        </a:cubicBezTo>
                        <a:cubicBezTo>
                          <a:pt x="4" y="558"/>
                          <a:pt x="4" y="558"/>
                          <a:pt x="4" y="559"/>
                        </a:cubicBezTo>
                        <a:cubicBezTo>
                          <a:pt x="4" y="550"/>
                          <a:pt x="5" y="540"/>
                          <a:pt x="4" y="529"/>
                        </a:cubicBezTo>
                        <a:cubicBezTo>
                          <a:pt x="4" y="528"/>
                          <a:pt x="4" y="528"/>
                          <a:pt x="4" y="528"/>
                        </a:cubicBezTo>
                        <a:cubicBezTo>
                          <a:pt x="4" y="521"/>
                          <a:pt x="4" y="521"/>
                          <a:pt x="4" y="521"/>
                        </a:cubicBezTo>
                        <a:cubicBezTo>
                          <a:pt x="4" y="521"/>
                          <a:pt x="4" y="522"/>
                          <a:pt x="4" y="525"/>
                        </a:cubicBezTo>
                        <a:cubicBezTo>
                          <a:pt x="5" y="439"/>
                          <a:pt x="3" y="351"/>
                          <a:pt x="3" y="263"/>
                        </a:cubicBezTo>
                        <a:cubicBezTo>
                          <a:pt x="4" y="266"/>
                          <a:pt x="4" y="266"/>
                          <a:pt x="4" y="266"/>
                        </a:cubicBezTo>
                        <a:cubicBezTo>
                          <a:pt x="3" y="249"/>
                          <a:pt x="3" y="249"/>
                          <a:pt x="3" y="249"/>
                        </a:cubicBezTo>
                        <a:cubicBezTo>
                          <a:pt x="3" y="249"/>
                          <a:pt x="3" y="250"/>
                          <a:pt x="4" y="250"/>
                        </a:cubicBezTo>
                        <a:cubicBezTo>
                          <a:pt x="4" y="229"/>
                          <a:pt x="3" y="206"/>
                          <a:pt x="3" y="185"/>
                        </a:cubicBezTo>
                        <a:cubicBezTo>
                          <a:pt x="4" y="185"/>
                          <a:pt x="4" y="188"/>
                          <a:pt x="4" y="185"/>
                        </a:cubicBezTo>
                        <a:cubicBezTo>
                          <a:pt x="3" y="169"/>
                          <a:pt x="5" y="160"/>
                          <a:pt x="3" y="152"/>
                        </a:cubicBezTo>
                        <a:cubicBezTo>
                          <a:pt x="3" y="151"/>
                          <a:pt x="4" y="151"/>
                          <a:pt x="4" y="152"/>
                        </a:cubicBezTo>
                        <a:cubicBezTo>
                          <a:pt x="3" y="109"/>
                          <a:pt x="3" y="64"/>
                          <a:pt x="4" y="20"/>
                        </a:cubicBezTo>
                        <a:cubicBezTo>
                          <a:pt x="3" y="14"/>
                          <a:pt x="3" y="8"/>
                          <a:pt x="3" y="2"/>
                        </a:cubicBezTo>
                        <a:cubicBezTo>
                          <a:pt x="3" y="2"/>
                          <a:pt x="3" y="3"/>
                          <a:pt x="2" y="3"/>
                        </a:cubicBezTo>
                        <a:cubicBezTo>
                          <a:pt x="34" y="2"/>
                          <a:pt x="68" y="3"/>
                          <a:pt x="100" y="2"/>
                        </a:cubicBezTo>
                        <a:cubicBezTo>
                          <a:pt x="100" y="3"/>
                          <a:pt x="100" y="3"/>
                          <a:pt x="100" y="3"/>
                        </a:cubicBezTo>
                        <a:cubicBezTo>
                          <a:pt x="149" y="2"/>
                          <a:pt x="202" y="3"/>
                          <a:pt x="253" y="2"/>
                        </a:cubicBezTo>
                        <a:cubicBezTo>
                          <a:pt x="274" y="3"/>
                          <a:pt x="288" y="2"/>
                          <a:pt x="310" y="2"/>
                        </a:cubicBezTo>
                        <a:cubicBezTo>
                          <a:pt x="310" y="3"/>
                          <a:pt x="310" y="3"/>
                          <a:pt x="310" y="3"/>
                        </a:cubicBezTo>
                        <a:cubicBezTo>
                          <a:pt x="330" y="2"/>
                          <a:pt x="351" y="2"/>
                          <a:pt x="372" y="3"/>
                        </a:cubicBezTo>
                        <a:cubicBezTo>
                          <a:pt x="372" y="2"/>
                          <a:pt x="372" y="2"/>
                          <a:pt x="372" y="2"/>
                        </a:cubicBezTo>
                        <a:cubicBezTo>
                          <a:pt x="371" y="19"/>
                          <a:pt x="371" y="36"/>
                          <a:pt x="372" y="53"/>
                        </a:cubicBezTo>
                        <a:cubicBezTo>
                          <a:pt x="371" y="51"/>
                          <a:pt x="371" y="51"/>
                          <a:pt x="371" y="51"/>
                        </a:cubicBezTo>
                        <a:cubicBezTo>
                          <a:pt x="372" y="56"/>
                          <a:pt x="371" y="73"/>
                          <a:pt x="372" y="71"/>
                        </a:cubicBezTo>
                        <a:cubicBezTo>
                          <a:pt x="372" y="78"/>
                          <a:pt x="372" y="78"/>
                          <a:pt x="372" y="78"/>
                        </a:cubicBezTo>
                        <a:cubicBezTo>
                          <a:pt x="374" y="103"/>
                          <a:pt x="371" y="124"/>
                          <a:pt x="372" y="155"/>
                        </a:cubicBezTo>
                        <a:cubicBezTo>
                          <a:pt x="372" y="153"/>
                          <a:pt x="372" y="153"/>
                          <a:pt x="372" y="153"/>
                        </a:cubicBezTo>
                        <a:cubicBezTo>
                          <a:pt x="372" y="161"/>
                          <a:pt x="372" y="171"/>
                          <a:pt x="372" y="177"/>
                        </a:cubicBezTo>
                        <a:cubicBezTo>
                          <a:pt x="372" y="176"/>
                          <a:pt x="372" y="177"/>
                          <a:pt x="372" y="175"/>
                        </a:cubicBezTo>
                        <a:cubicBezTo>
                          <a:pt x="371" y="201"/>
                          <a:pt x="372" y="230"/>
                          <a:pt x="372" y="257"/>
                        </a:cubicBezTo>
                        <a:cubicBezTo>
                          <a:pt x="371" y="254"/>
                          <a:pt x="371" y="254"/>
                          <a:pt x="371" y="254"/>
                        </a:cubicBezTo>
                        <a:cubicBezTo>
                          <a:pt x="372" y="267"/>
                          <a:pt x="372" y="292"/>
                          <a:pt x="372" y="309"/>
                        </a:cubicBezTo>
                        <a:cubicBezTo>
                          <a:pt x="372" y="308"/>
                          <a:pt x="372" y="308"/>
                          <a:pt x="372" y="308"/>
                        </a:cubicBezTo>
                        <a:cubicBezTo>
                          <a:pt x="372" y="317"/>
                          <a:pt x="372" y="317"/>
                          <a:pt x="372" y="317"/>
                        </a:cubicBezTo>
                        <a:cubicBezTo>
                          <a:pt x="371" y="317"/>
                          <a:pt x="371" y="317"/>
                          <a:pt x="371" y="317"/>
                        </a:cubicBezTo>
                        <a:cubicBezTo>
                          <a:pt x="371" y="340"/>
                          <a:pt x="372" y="361"/>
                          <a:pt x="372" y="383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vert="horz" wrap="square" lIns="80682" tIns="40341" rIns="80682" bIns="4034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901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776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pic>
              <p:nvPicPr>
                <p:cNvPr id="20" name="Picture 19"/>
                <p:cNvPicPr>
                  <a:picLocks noChangeAspect="1"/>
                </p:cNvPicPr>
                <p:nvPr/>
              </p:nvPicPr>
              <p:blipFill>
                <a:blip r:embed="rId17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79332" y="2227995"/>
                  <a:ext cx="601838" cy="760082"/>
                </a:xfrm>
                <a:prstGeom prst="rect">
                  <a:avLst/>
                </a:prstGeom>
                <a:solidFill>
                  <a:schemeClr val="bg1"/>
                </a:solidFill>
              </p:spPr>
            </p:pic>
          </p:grpSp>
          <p:sp>
            <p:nvSpPr>
              <p:cNvPr id="40" name="Explosion 1 39"/>
              <p:cNvSpPr/>
              <p:nvPr/>
            </p:nvSpPr>
            <p:spPr bwMode="auto">
              <a:xfrm>
                <a:off x="6194796" y="2443660"/>
                <a:ext cx="200486" cy="142518"/>
              </a:xfrm>
              <a:prstGeom prst="irregularSeal1">
                <a:avLst/>
              </a:prstGeom>
              <a:solidFill>
                <a:schemeClr val="tx2"/>
              </a:solidFill>
              <a:ln w="63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0341" tIns="40341" rIns="40341" bIns="403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059" b="0" i="0" u="none" strike="noStrike" kern="1200" cap="none" spc="0" normalizeH="0" baseline="0" noProof="0" dirty="0">
                  <a:ln>
                    <a:noFill/>
                  </a:ln>
                  <a:solidFill>
                    <a:srgbClr val="00A1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Explosion 1 40"/>
              <p:cNvSpPr/>
              <p:nvPr/>
            </p:nvSpPr>
            <p:spPr bwMode="auto">
              <a:xfrm>
                <a:off x="6138927" y="2610798"/>
                <a:ext cx="182260" cy="172448"/>
              </a:xfrm>
              <a:prstGeom prst="irregularSeal1">
                <a:avLst/>
              </a:prstGeom>
              <a:solidFill>
                <a:schemeClr val="tx2"/>
              </a:solidFill>
              <a:ln w="63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0341" tIns="40341" rIns="40341" bIns="403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059" b="0" i="0" u="none" strike="noStrike" kern="1200" cap="none" spc="0" normalizeH="0" baseline="0" noProof="0" dirty="0">
                  <a:ln>
                    <a:noFill/>
                  </a:ln>
                  <a:solidFill>
                    <a:srgbClr val="00A1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Explosion 1 41"/>
              <p:cNvSpPr/>
              <p:nvPr/>
            </p:nvSpPr>
            <p:spPr bwMode="auto">
              <a:xfrm>
                <a:off x="6384939" y="2614101"/>
                <a:ext cx="220535" cy="142518"/>
              </a:xfrm>
              <a:prstGeom prst="irregularSeal1">
                <a:avLst/>
              </a:prstGeom>
              <a:solidFill>
                <a:schemeClr val="tx2"/>
              </a:solidFill>
              <a:ln w="63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0341" tIns="40341" rIns="40341" bIns="403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059" b="0" i="0" u="none" strike="noStrike" kern="1200" cap="none" spc="0" normalizeH="0" baseline="0" noProof="0" dirty="0">
                  <a:ln>
                    <a:noFill/>
                  </a:ln>
                  <a:solidFill>
                    <a:srgbClr val="00A1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Explosion 1 42"/>
              <p:cNvSpPr/>
              <p:nvPr/>
            </p:nvSpPr>
            <p:spPr bwMode="auto">
              <a:xfrm>
                <a:off x="6965794" y="3031781"/>
                <a:ext cx="220535" cy="142518"/>
              </a:xfrm>
              <a:prstGeom prst="irregularSeal1">
                <a:avLst/>
              </a:prstGeom>
              <a:solidFill>
                <a:schemeClr val="tx2"/>
              </a:solidFill>
              <a:ln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0341" tIns="40341" rIns="40341" bIns="403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059" b="0" i="0" u="none" strike="noStrike" kern="1200" cap="none" spc="0" normalizeH="0" baseline="0" noProof="0" dirty="0">
                  <a:ln>
                    <a:noFill/>
                  </a:ln>
                  <a:solidFill>
                    <a:srgbClr val="00A1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Explosion 1 43"/>
              <p:cNvSpPr/>
              <p:nvPr/>
            </p:nvSpPr>
            <p:spPr bwMode="auto">
              <a:xfrm>
                <a:off x="6323872" y="3251567"/>
                <a:ext cx="220535" cy="142518"/>
              </a:xfrm>
              <a:prstGeom prst="irregularSeal1">
                <a:avLst/>
              </a:prstGeom>
              <a:solidFill>
                <a:schemeClr val="tx2"/>
              </a:solidFill>
              <a:ln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0341" tIns="40341" rIns="40341" bIns="403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6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059" b="0" i="0" u="none" strike="noStrike" kern="1200" cap="none" spc="0" normalizeH="0" baseline="0" noProof="0" dirty="0">
                  <a:ln>
                    <a:noFill/>
                  </a:ln>
                  <a:solidFill>
                    <a:srgbClr val="00A1DE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" name="Freeform 219"/>
            <p:cNvSpPr>
              <a:spLocks noEditPoints="1"/>
            </p:cNvSpPr>
            <p:nvPr/>
          </p:nvSpPr>
          <p:spPr bwMode="auto">
            <a:xfrm>
              <a:off x="3839521" y="1354318"/>
              <a:ext cx="3237599" cy="3218432"/>
            </a:xfrm>
            <a:custGeom>
              <a:avLst/>
              <a:gdLst>
                <a:gd name="T0" fmla="*/ 29 w 68"/>
                <a:gd name="T1" fmla="*/ 68 h 69"/>
                <a:gd name="T2" fmla="*/ 22 w 68"/>
                <a:gd name="T3" fmla="*/ 66 h 69"/>
                <a:gd name="T4" fmla="*/ 14 w 68"/>
                <a:gd name="T5" fmla="*/ 62 h 69"/>
                <a:gd name="T6" fmla="*/ 9 w 68"/>
                <a:gd name="T7" fmla="*/ 58 h 69"/>
                <a:gd name="T8" fmla="*/ 3 w 68"/>
                <a:gd name="T9" fmla="*/ 50 h 69"/>
                <a:gd name="T10" fmla="*/ 1 w 68"/>
                <a:gd name="T11" fmla="*/ 41 h 69"/>
                <a:gd name="T12" fmla="*/ 0 w 68"/>
                <a:gd name="T13" fmla="*/ 32 h 69"/>
                <a:gd name="T14" fmla="*/ 2 w 68"/>
                <a:gd name="T15" fmla="*/ 20 h 69"/>
                <a:gd name="T16" fmla="*/ 6 w 68"/>
                <a:gd name="T17" fmla="*/ 13 h 69"/>
                <a:gd name="T18" fmla="*/ 13 w 68"/>
                <a:gd name="T19" fmla="*/ 6 h 69"/>
                <a:gd name="T20" fmla="*/ 24 w 68"/>
                <a:gd name="T21" fmla="*/ 1 h 69"/>
                <a:gd name="T22" fmla="*/ 31 w 68"/>
                <a:gd name="T23" fmla="*/ 0 h 69"/>
                <a:gd name="T24" fmla="*/ 34 w 68"/>
                <a:gd name="T25" fmla="*/ 0 h 69"/>
                <a:gd name="T26" fmla="*/ 43 w 68"/>
                <a:gd name="T27" fmla="*/ 2 h 69"/>
                <a:gd name="T28" fmla="*/ 48 w 68"/>
                <a:gd name="T29" fmla="*/ 4 h 69"/>
                <a:gd name="T30" fmla="*/ 54 w 68"/>
                <a:gd name="T31" fmla="*/ 7 h 69"/>
                <a:gd name="T32" fmla="*/ 59 w 68"/>
                <a:gd name="T33" fmla="*/ 12 h 69"/>
                <a:gd name="T34" fmla="*/ 63 w 68"/>
                <a:gd name="T35" fmla="*/ 17 h 69"/>
                <a:gd name="T36" fmla="*/ 67 w 68"/>
                <a:gd name="T37" fmla="*/ 27 h 69"/>
                <a:gd name="T38" fmla="*/ 67 w 68"/>
                <a:gd name="T39" fmla="*/ 30 h 69"/>
                <a:gd name="T40" fmla="*/ 67 w 68"/>
                <a:gd name="T41" fmla="*/ 39 h 69"/>
                <a:gd name="T42" fmla="*/ 66 w 68"/>
                <a:gd name="T43" fmla="*/ 44 h 69"/>
                <a:gd name="T44" fmla="*/ 62 w 68"/>
                <a:gd name="T45" fmla="*/ 53 h 69"/>
                <a:gd name="T46" fmla="*/ 56 w 68"/>
                <a:gd name="T47" fmla="*/ 61 h 69"/>
                <a:gd name="T48" fmla="*/ 49 w 68"/>
                <a:gd name="T49" fmla="*/ 65 h 69"/>
                <a:gd name="T50" fmla="*/ 39 w 68"/>
                <a:gd name="T51" fmla="*/ 68 h 69"/>
                <a:gd name="T52" fmla="*/ 33 w 68"/>
                <a:gd name="T53" fmla="*/ 68 h 69"/>
                <a:gd name="T54" fmla="*/ 36 w 68"/>
                <a:gd name="T55" fmla="*/ 65 h 69"/>
                <a:gd name="T56" fmla="*/ 42 w 68"/>
                <a:gd name="T57" fmla="*/ 64 h 69"/>
                <a:gd name="T58" fmla="*/ 52 w 68"/>
                <a:gd name="T59" fmla="*/ 60 h 69"/>
                <a:gd name="T60" fmla="*/ 60 w 68"/>
                <a:gd name="T61" fmla="*/ 52 h 69"/>
                <a:gd name="T62" fmla="*/ 64 w 68"/>
                <a:gd name="T63" fmla="*/ 43 h 69"/>
                <a:gd name="T64" fmla="*/ 65 w 68"/>
                <a:gd name="T65" fmla="*/ 36 h 69"/>
                <a:gd name="T66" fmla="*/ 65 w 68"/>
                <a:gd name="T67" fmla="*/ 30 h 69"/>
                <a:gd name="T68" fmla="*/ 61 w 68"/>
                <a:gd name="T69" fmla="*/ 19 h 69"/>
                <a:gd name="T70" fmla="*/ 56 w 68"/>
                <a:gd name="T71" fmla="*/ 13 h 69"/>
                <a:gd name="T72" fmla="*/ 50 w 68"/>
                <a:gd name="T73" fmla="*/ 9 h 69"/>
                <a:gd name="T74" fmla="*/ 42 w 68"/>
                <a:gd name="T75" fmla="*/ 6 h 69"/>
                <a:gd name="T76" fmla="*/ 39 w 68"/>
                <a:gd name="T77" fmla="*/ 4 h 69"/>
                <a:gd name="T78" fmla="*/ 38 w 68"/>
                <a:gd name="T79" fmla="*/ 3 h 69"/>
                <a:gd name="T80" fmla="*/ 30 w 68"/>
                <a:gd name="T81" fmla="*/ 3 h 69"/>
                <a:gd name="T82" fmla="*/ 22 w 68"/>
                <a:gd name="T83" fmla="*/ 4 h 69"/>
                <a:gd name="T84" fmla="*/ 14 w 68"/>
                <a:gd name="T85" fmla="*/ 8 h 69"/>
                <a:gd name="T86" fmla="*/ 9 w 68"/>
                <a:gd name="T87" fmla="*/ 13 h 69"/>
                <a:gd name="T88" fmla="*/ 4 w 68"/>
                <a:gd name="T89" fmla="*/ 21 h 69"/>
                <a:gd name="T90" fmla="*/ 2 w 68"/>
                <a:gd name="T91" fmla="*/ 28 h 69"/>
                <a:gd name="T92" fmla="*/ 2 w 68"/>
                <a:gd name="T93" fmla="*/ 32 h 69"/>
                <a:gd name="T94" fmla="*/ 2 w 68"/>
                <a:gd name="T95" fmla="*/ 38 h 69"/>
                <a:gd name="T96" fmla="*/ 3 w 68"/>
                <a:gd name="T97" fmla="*/ 40 h 69"/>
                <a:gd name="T98" fmla="*/ 6 w 68"/>
                <a:gd name="T99" fmla="*/ 48 h 69"/>
                <a:gd name="T100" fmla="*/ 11 w 68"/>
                <a:gd name="T101" fmla="*/ 55 h 69"/>
                <a:gd name="T102" fmla="*/ 13 w 68"/>
                <a:gd name="T103" fmla="*/ 57 h 69"/>
                <a:gd name="T104" fmla="*/ 16 w 68"/>
                <a:gd name="T105" fmla="*/ 59 h 69"/>
                <a:gd name="T106" fmla="*/ 17 w 68"/>
                <a:gd name="T107" fmla="*/ 60 h 69"/>
                <a:gd name="T108" fmla="*/ 25 w 68"/>
                <a:gd name="T109" fmla="*/ 63 h 69"/>
                <a:gd name="T110" fmla="*/ 30 w 68"/>
                <a:gd name="T111" fmla="*/ 64 h 69"/>
                <a:gd name="T112" fmla="*/ 36 w 68"/>
                <a:gd name="T113" fmla="*/ 6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8" h="69">
                  <a:moveTo>
                    <a:pt x="33" y="68"/>
                  </a:moveTo>
                  <a:cubicBezTo>
                    <a:pt x="32" y="68"/>
                    <a:pt x="31" y="69"/>
                    <a:pt x="29" y="68"/>
                  </a:cubicBezTo>
                  <a:cubicBezTo>
                    <a:pt x="28" y="68"/>
                    <a:pt x="26" y="68"/>
                    <a:pt x="25" y="67"/>
                  </a:cubicBezTo>
                  <a:cubicBezTo>
                    <a:pt x="24" y="67"/>
                    <a:pt x="23" y="67"/>
                    <a:pt x="22" y="66"/>
                  </a:cubicBezTo>
                  <a:cubicBezTo>
                    <a:pt x="21" y="66"/>
                    <a:pt x="20" y="65"/>
                    <a:pt x="19" y="65"/>
                  </a:cubicBezTo>
                  <a:cubicBezTo>
                    <a:pt x="17" y="64"/>
                    <a:pt x="15" y="63"/>
                    <a:pt x="14" y="62"/>
                  </a:cubicBezTo>
                  <a:cubicBezTo>
                    <a:pt x="13" y="62"/>
                    <a:pt x="13" y="61"/>
                    <a:pt x="12" y="61"/>
                  </a:cubicBezTo>
                  <a:cubicBezTo>
                    <a:pt x="11" y="60"/>
                    <a:pt x="10" y="59"/>
                    <a:pt x="9" y="58"/>
                  </a:cubicBezTo>
                  <a:cubicBezTo>
                    <a:pt x="8" y="56"/>
                    <a:pt x="7" y="55"/>
                    <a:pt x="6" y="54"/>
                  </a:cubicBezTo>
                  <a:cubicBezTo>
                    <a:pt x="5" y="53"/>
                    <a:pt x="4" y="51"/>
                    <a:pt x="3" y="50"/>
                  </a:cubicBezTo>
                  <a:cubicBezTo>
                    <a:pt x="3" y="48"/>
                    <a:pt x="2" y="47"/>
                    <a:pt x="2" y="46"/>
                  </a:cubicBezTo>
                  <a:cubicBezTo>
                    <a:pt x="1" y="44"/>
                    <a:pt x="1" y="43"/>
                    <a:pt x="1" y="41"/>
                  </a:cubicBezTo>
                  <a:cubicBezTo>
                    <a:pt x="0" y="40"/>
                    <a:pt x="0" y="39"/>
                    <a:pt x="0" y="38"/>
                  </a:cubicBezTo>
                  <a:cubicBezTo>
                    <a:pt x="0" y="36"/>
                    <a:pt x="0" y="34"/>
                    <a:pt x="0" y="32"/>
                  </a:cubicBezTo>
                  <a:cubicBezTo>
                    <a:pt x="0" y="30"/>
                    <a:pt x="0" y="28"/>
                    <a:pt x="1" y="26"/>
                  </a:cubicBezTo>
                  <a:cubicBezTo>
                    <a:pt x="1" y="24"/>
                    <a:pt x="2" y="22"/>
                    <a:pt x="2" y="20"/>
                  </a:cubicBezTo>
                  <a:cubicBezTo>
                    <a:pt x="3" y="19"/>
                    <a:pt x="3" y="18"/>
                    <a:pt x="4" y="17"/>
                  </a:cubicBezTo>
                  <a:cubicBezTo>
                    <a:pt x="5" y="16"/>
                    <a:pt x="5" y="14"/>
                    <a:pt x="6" y="13"/>
                  </a:cubicBezTo>
                  <a:cubicBezTo>
                    <a:pt x="7" y="12"/>
                    <a:pt x="8" y="11"/>
                    <a:pt x="9" y="10"/>
                  </a:cubicBezTo>
                  <a:cubicBezTo>
                    <a:pt x="10" y="8"/>
                    <a:pt x="11" y="7"/>
                    <a:pt x="13" y="6"/>
                  </a:cubicBezTo>
                  <a:cubicBezTo>
                    <a:pt x="14" y="5"/>
                    <a:pt x="15" y="4"/>
                    <a:pt x="17" y="3"/>
                  </a:cubicBezTo>
                  <a:cubicBezTo>
                    <a:pt x="19" y="2"/>
                    <a:pt x="22" y="1"/>
                    <a:pt x="24" y="1"/>
                  </a:cubicBezTo>
                  <a:cubicBezTo>
                    <a:pt x="26" y="0"/>
                    <a:pt x="27" y="0"/>
                    <a:pt x="28" y="0"/>
                  </a:cubicBezTo>
                  <a:cubicBezTo>
                    <a:pt x="29" y="0"/>
                    <a:pt x="30" y="0"/>
                    <a:pt x="31" y="0"/>
                  </a:cubicBezTo>
                  <a:cubicBezTo>
                    <a:pt x="31" y="0"/>
                    <a:pt x="32" y="0"/>
                    <a:pt x="32" y="0"/>
                  </a:cubicBezTo>
                  <a:cubicBezTo>
                    <a:pt x="33" y="0"/>
                    <a:pt x="34" y="0"/>
                    <a:pt x="34" y="0"/>
                  </a:cubicBezTo>
                  <a:cubicBezTo>
                    <a:pt x="36" y="0"/>
                    <a:pt x="37" y="0"/>
                    <a:pt x="38" y="0"/>
                  </a:cubicBezTo>
                  <a:cubicBezTo>
                    <a:pt x="40" y="0"/>
                    <a:pt x="41" y="1"/>
                    <a:pt x="43" y="2"/>
                  </a:cubicBezTo>
                  <a:cubicBezTo>
                    <a:pt x="44" y="2"/>
                    <a:pt x="45" y="3"/>
                    <a:pt x="46" y="3"/>
                  </a:cubicBezTo>
                  <a:cubicBezTo>
                    <a:pt x="47" y="3"/>
                    <a:pt x="48" y="3"/>
                    <a:pt x="48" y="4"/>
                  </a:cubicBezTo>
                  <a:cubicBezTo>
                    <a:pt x="50" y="5"/>
                    <a:pt x="52" y="6"/>
                    <a:pt x="53" y="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5" y="8"/>
                    <a:pt x="56" y="9"/>
                    <a:pt x="57" y="10"/>
                  </a:cubicBezTo>
                  <a:cubicBezTo>
                    <a:pt x="58" y="10"/>
                    <a:pt x="58" y="11"/>
                    <a:pt x="59" y="12"/>
                  </a:cubicBezTo>
                  <a:cubicBezTo>
                    <a:pt x="60" y="13"/>
                    <a:pt x="61" y="14"/>
                    <a:pt x="61" y="14"/>
                  </a:cubicBezTo>
                  <a:cubicBezTo>
                    <a:pt x="62" y="15"/>
                    <a:pt x="62" y="16"/>
                    <a:pt x="63" y="17"/>
                  </a:cubicBezTo>
                  <a:cubicBezTo>
                    <a:pt x="64" y="19"/>
                    <a:pt x="65" y="21"/>
                    <a:pt x="66" y="23"/>
                  </a:cubicBezTo>
                  <a:cubicBezTo>
                    <a:pt x="66" y="24"/>
                    <a:pt x="67" y="25"/>
                    <a:pt x="67" y="27"/>
                  </a:cubicBezTo>
                  <a:cubicBezTo>
                    <a:pt x="67" y="28"/>
                    <a:pt x="67" y="29"/>
                    <a:pt x="67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2"/>
                    <a:pt x="68" y="33"/>
                    <a:pt x="67" y="35"/>
                  </a:cubicBezTo>
                  <a:cubicBezTo>
                    <a:pt x="67" y="36"/>
                    <a:pt x="67" y="37"/>
                    <a:pt x="67" y="39"/>
                  </a:cubicBezTo>
                  <a:cubicBezTo>
                    <a:pt x="67" y="39"/>
                    <a:pt x="67" y="40"/>
                    <a:pt x="67" y="41"/>
                  </a:cubicBezTo>
                  <a:cubicBezTo>
                    <a:pt x="66" y="42"/>
                    <a:pt x="66" y="43"/>
                    <a:pt x="66" y="44"/>
                  </a:cubicBezTo>
                  <a:cubicBezTo>
                    <a:pt x="65" y="46"/>
                    <a:pt x="65" y="47"/>
                    <a:pt x="64" y="49"/>
                  </a:cubicBezTo>
                  <a:cubicBezTo>
                    <a:pt x="64" y="50"/>
                    <a:pt x="63" y="51"/>
                    <a:pt x="62" y="53"/>
                  </a:cubicBezTo>
                  <a:cubicBezTo>
                    <a:pt x="62" y="54"/>
                    <a:pt x="61" y="56"/>
                    <a:pt x="60" y="57"/>
                  </a:cubicBezTo>
                  <a:cubicBezTo>
                    <a:pt x="58" y="58"/>
                    <a:pt x="57" y="60"/>
                    <a:pt x="56" y="61"/>
                  </a:cubicBezTo>
                  <a:cubicBezTo>
                    <a:pt x="54" y="62"/>
                    <a:pt x="53" y="63"/>
                    <a:pt x="52" y="64"/>
                  </a:cubicBezTo>
                  <a:cubicBezTo>
                    <a:pt x="51" y="64"/>
                    <a:pt x="50" y="65"/>
                    <a:pt x="49" y="65"/>
                  </a:cubicBezTo>
                  <a:cubicBezTo>
                    <a:pt x="47" y="66"/>
                    <a:pt x="46" y="67"/>
                    <a:pt x="44" y="67"/>
                  </a:cubicBezTo>
                  <a:cubicBezTo>
                    <a:pt x="42" y="68"/>
                    <a:pt x="41" y="68"/>
                    <a:pt x="39" y="68"/>
                  </a:cubicBezTo>
                  <a:cubicBezTo>
                    <a:pt x="37" y="68"/>
                    <a:pt x="35" y="69"/>
                    <a:pt x="33" y="69"/>
                  </a:cubicBezTo>
                  <a:cubicBezTo>
                    <a:pt x="33" y="69"/>
                    <a:pt x="33" y="68"/>
                    <a:pt x="33" y="68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7" y="64"/>
                    <a:pt x="37" y="64"/>
                  </a:cubicBezTo>
                  <a:cubicBezTo>
                    <a:pt x="39" y="64"/>
                    <a:pt x="41" y="64"/>
                    <a:pt x="42" y="64"/>
                  </a:cubicBezTo>
                  <a:cubicBezTo>
                    <a:pt x="44" y="63"/>
                    <a:pt x="46" y="62"/>
                    <a:pt x="49" y="61"/>
                  </a:cubicBezTo>
                  <a:cubicBezTo>
                    <a:pt x="50" y="61"/>
                    <a:pt x="51" y="60"/>
                    <a:pt x="52" y="60"/>
                  </a:cubicBezTo>
                  <a:cubicBezTo>
                    <a:pt x="53" y="59"/>
                    <a:pt x="55" y="58"/>
                    <a:pt x="56" y="57"/>
                  </a:cubicBezTo>
                  <a:cubicBezTo>
                    <a:pt x="57" y="56"/>
                    <a:pt x="59" y="54"/>
                    <a:pt x="60" y="52"/>
                  </a:cubicBezTo>
                  <a:cubicBezTo>
                    <a:pt x="61" y="51"/>
                    <a:pt x="62" y="49"/>
                    <a:pt x="62" y="48"/>
                  </a:cubicBezTo>
                  <a:cubicBezTo>
                    <a:pt x="63" y="46"/>
                    <a:pt x="64" y="44"/>
                    <a:pt x="64" y="43"/>
                  </a:cubicBezTo>
                  <a:cubicBezTo>
                    <a:pt x="65" y="41"/>
                    <a:pt x="65" y="40"/>
                    <a:pt x="65" y="38"/>
                  </a:cubicBezTo>
                  <a:cubicBezTo>
                    <a:pt x="65" y="38"/>
                    <a:pt x="65" y="37"/>
                    <a:pt x="65" y="36"/>
                  </a:cubicBezTo>
                  <a:cubicBezTo>
                    <a:pt x="65" y="35"/>
                    <a:pt x="65" y="34"/>
                    <a:pt x="65" y="33"/>
                  </a:cubicBezTo>
                  <a:cubicBezTo>
                    <a:pt x="65" y="32"/>
                    <a:pt x="65" y="31"/>
                    <a:pt x="65" y="30"/>
                  </a:cubicBezTo>
                  <a:cubicBezTo>
                    <a:pt x="64" y="28"/>
                    <a:pt x="64" y="25"/>
                    <a:pt x="63" y="24"/>
                  </a:cubicBezTo>
                  <a:cubicBezTo>
                    <a:pt x="62" y="22"/>
                    <a:pt x="62" y="21"/>
                    <a:pt x="61" y="19"/>
                  </a:cubicBezTo>
                  <a:cubicBezTo>
                    <a:pt x="60" y="18"/>
                    <a:pt x="59" y="16"/>
                    <a:pt x="58" y="15"/>
                  </a:cubicBezTo>
                  <a:cubicBezTo>
                    <a:pt x="57" y="14"/>
                    <a:pt x="57" y="14"/>
                    <a:pt x="56" y="13"/>
                  </a:cubicBezTo>
                  <a:cubicBezTo>
                    <a:pt x="55" y="13"/>
                    <a:pt x="54" y="12"/>
                    <a:pt x="54" y="11"/>
                  </a:cubicBezTo>
                  <a:cubicBezTo>
                    <a:pt x="52" y="10"/>
                    <a:pt x="51" y="10"/>
                    <a:pt x="50" y="9"/>
                  </a:cubicBezTo>
                  <a:cubicBezTo>
                    <a:pt x="49" y="8"/>
                    <a:pt x="47" y="7"/>
                    <a:pt x="46" y="7"/>
                  </a:cubicBezTo>
                  <a:cubicBezTo>
                    <a:pt x="45" y="6"/>
                    <a:pt x="43" y="6"/>
                    <a:pt x="42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39" y="5"/>
                    <a:pt x="39" y="5"/>
                    <a:pt x="39" y="4"/>
                  </a:cubicBezTo>
                  <a:cubicBezTo>
                    <a:pt x="39" y="4"/>
                    <a:pt x="39" y="4"/>
                    <a:pt x="38" y="4"/>
                  </a:cubicBezTo>
                  <a:cubicBezTo>
                    <a:pt x="38" y="4"/>
                    <a:pt x="38" y="4"/>
                    <a:pt x="38" y="3"/>
                  </a:cubicBezTo>
                  <a:cubicBezTo>
                    <a:pt x="36" y="3"/>
                    <a:pt x="35" y="3"/>
                    <a:pt x="33" y="3"/>
                  </a:cubicBezTo>
                  <a:cubicBezTo>
                    <a:pt x="32" y="3"/>
                    <a:pt x="31" y="3"/>
                    <a:pt x="30" y="3"/>
                  </a:cubicBezTo>
                  <a:cubicBezTo>
                    <a:pt x="29" y="3"/>
                    <a:pt x="29" y="3"/>
                    <a:pt x="28" y="3"/>
                  </a:cubicBezTo>
                  <a:cubicBezTo>
                    <a:pt x="26" y="3"/>
                    <a:pt x="24" y="4"/>
                    <a:pt x="22" y="4"/>
                  </a:cubicBezTo>
                  <a:cubicBezTo>
                    <a:pt x="21" y="5"/>
                    <a:pt x="19" y="5"/>
                    <a:pt x="18" y="6"/>
                  </a:cubicBezTo>
                  <a:cubicBezTo>
                    <a:pt x="17" y="7"/>
                    <a:pt x="15" y="7"/>
                    <a:pt x="14" y="8"/>
                  </a:cubicBezTo>
                  <a:cubicBezTo>
                    <a:pt x="13" y="9"/>
                    <a:pt x="12" y="10"/>
                    <a:pt x="11" y="11"/>
                  </a:cubicBezTo>
                  <a:cubicBezTo>
                    <a:pt x="10" y="12"/>
                    <a:pt x="10" y="12"/>
                    <a:pt x="9" y="13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6" y="18"/>
                    <a:pt x="5" y="19"/>
                    <a:pt x="4" y="21"/>
                  </a:cubicBezTo>
                  <a:cubicBezTo>
                    <a:pt x="4" y="22"/>
                    <a:pt x="3" y="24"/>
                    <a:pt x="3" y="25"/>
                  </a:cubicBezTo>
                  <a:cubicBezTo>
                    <a:pt x="3" y="26"/>
                    <a:pt x="3" y="27"/>
                    <a:pt x="2" y="28"/>
                  </a:cubicBezTo>
                  <a:cubicBezTo>
                    <a:pt x="2" y="28"/>
                    <a:pt x="2" y="29"/>
                    <a:pt x="2" y="30"/>
                  </a:cubicBezTo>
                  <a:cubicBezTo>
                    <a:pt x="2" y="31"/>
                    <a:pt x="2" y="31"/>
                    <a:pt x="2" y="32"/>
                  </a:cubicBezTo>
                  <a:cubicBezTo>
                    <a:pt x="2" y="33"/>
                    <a:pt x="2" y="33"/>
                    <a:pt x="2" y="34"/>
                  </a:cubicBezTo>
                  <a:cubicBezTo>
                    <a:pt x="2" y="35"/>
                    <a:pt x="2" y="36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9"/>
                    <a:pt x="3" y="40"/>
                    <a:pt x="3" y="40"/>
                  </a:cubicBezTo>
                  <a:cubicBezTo>
                    <a:pt x="3" y="42"/>
                    <a:pt x="4" y="43"/>
                    <a:pt x="4" y="44"/>
                  </a:cubicBezTo>
                  <a:cubicBezTo>
                    <a:pt x="5" y="46"/>
                    <a:pt x="5" y="47"/>
                    <a:pt x="6" y="48"/>
                  </a:cubicBezTo>
                  <a:cubicBezTo>
                    <a:pt x="6" y="49"/>
                    <a:pt x="7" y="50"/>
                    <a:pt x="8" y="51"/>
                  </a:cubicBezTo>
                  <a:cubicBezTo>
                    <a:pt x="9" y="52"/>
                    <a:pt x="10" y="54"/>
                    <a:pt x="11" y="55"/>
                  </a:cubicBezTo>
                  <a:cubicBezTo>
                    <a:pt x="11" y="55"/>
                    <a:pt x="11" y="55"/>
                    <a:pt x="12" y="56"/>
                  </a:cubicBezTo>
                  <a:cubicBezTo>
                    <a:pt x="12" y="56"/>
                    <a:pt x="13" y="56"/>
                    <a:pt x="13" y="57"/>
                  </a:cubicBezTo>
                  <a:cubicBezTo>
                    <a:pt x="13" y="57"/>
                    <a:pt x="13" y="57"/>
                    <a:pt x="14" y="57"/>
                  </a:cubicBezTo>
                  <a:cubicBezTo>
                    <a:pt x="14" y="58"/>
                    <a:pt x="15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8" y="60"/>
                    <a:pt x="20" y="61"/>
                    <a:pt x="21" y="62"/>
                  </a:cubicBezTo>
                  <a:cubicBezTo>
                    <a:pt x="23" y="62"/>
                    <a:pt x="23" y="63"/>
                    <a:pt x="25" y="63"/>
                  </a:cubicBezTo>
                  <a:cubicBezTo>
                    <a:pt x="26" y="63"/>
                    <a:pt x="27" y="64"/>
                    <a:pt x="28" y="64"/>
                  </a:cubicBezTo>
                  <a:cubicBezTo>
                    <a:pt x="28" y="64"/>
                    <a:pt x="29" y="64"/>
                    <a:pt x="30" y="64"/>
                  </a:cubicBezTo>
                  <a:cubicBezTo>
                    <a:pt x="31" y="64"/>
                    <a:pt x="31" y="65"/>
                    <a:pt x="32" y="65"/>
                  </a:cubicBezTo>
                  <a:cubicBezTo>
                    <a:pt x="34" y="65"/>
                    <a:pt x="35" y="65"/>
                    <a:pt x="36" y="65"/>
                  </a:cubicBezTo>
                  <a:close/>
                </a:path>
              </a:pathLst>
            </a:custGeom>
            <a:solidFill>
              <a:srgbClr val="002776"/>
            </a:solidFill>
            <a:ln>
              <a:noFill/>
            </a:ln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7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sp>
        <p:nvSpPr>
          <p:cNvPr id="24" name="Rectangle 23"/>
          <p:cNvSpPr/>
          <p:nvPr/>
        </p:nvSpPr>
        <p:spPr>
          <a:xfrm>
            <a:off x="710463" y="720326"/>
            <a:ext cx="4615932" cy="2808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Keep elements in a model boundary consistent</a:t>
            </a:r>
          </a:p>
          <a:p>
            <a:pPr marL="252146" marR="0" lvl="0" indent="-252146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Models will fragment when worked on by multiple parties in parallel</a:t>
            </a:r>
          </a:p>
          <a:p>
            <a:pPr marL="252146" marR="0" lvl="0" indent="-252146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5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Continuous Integration </a:t>
            </a: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of both concepts and implementation is required to stay in synch</a:t>
            </a:r>
          </a:p>
          <a:p>
            <a:pPr marL="252146" marR="0" lvl="0" indent="-252146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High level of </a:t>
            </a:r>
            <a:r>
              <a:rPr kumimoji="0" lang="en-US" sz="1765" b="0" i="0" u="none" strike="noStrike" kern="1200" cap="none" spc="0" normalizeH="0" baseline="0" noProof="0" dirty="0" err="1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rigour</a:t>
            </a: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; only required within an </a:t>
            </a:r>
            <a:r>
              <a:rPr kumimoji="0" lang="en-US" sz="1765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individual bounded </a:t>
            </a:r>
            <a:r>
              <a:rPr kumimoji="0" lang="en-US" sz="1765" b="0" i="1" u="none" strike="noStrike" kern="1200" cap="none" spc="0" normalizeH="0" baseline="0" noProof="0" dirty="0" err="1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countext</a:t>
            </a:r>
            <a:endParaRPr kumimoji="0" lang="en-US" sz="1765" b="0" i="1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252146" marR="0" lvl="0" indent="-252146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65" b="0" i="1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4501417" y="4058228"/>
            <a:ext cx="4642584" cy="2808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1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ynchronize across boundaries according to the nature of the dependency</a:t>
            </a:r>
          </a:p>
          <a:p>
            <a:pPr marL="302575" marR="0" lvl="0" indent="-30257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stablishing clear boundaries for each context in play</a:t>
            </a:r>
          </a:p>
          <a:p>
            <a:pPr marL="302575" marR="0" lvl="0" indent="-30257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dentifying relationships across the different context based on dependencies</a:t>
            </a:r>
          </a:p>
          <a:p>
            <a:pPr marL="302575" marR="0" lvl="0" indent="-30257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fine an integration strategy to govern how different team will resolve and synchronize each cross context dependency</a:t>
            </a:r>
          </a:p>
        </p:txBody>
      </p:sp>
      <p:grpSp>
        <p:nvGrpSpPr>
          <p:cNvPr id="166" name="Group 165"/>
          <p:cNvGrpSpPr/>
          <p:nvPr/>
        </p:nvGrpSpPr>
        <p:grpSpPr>
          <a:xfrm>
            <a:off x="225666" y="3306149"/>
            <a:ext cx="4303059" cy="3493732"/>
            <a:chOff x="0" y="3733800"/>
            <a:chExt cx="4876800" cy="3959562"/>
          </a:xfrm>
        </p:grpSpPr>
        <p:sp>
          <p:nvSpPr>
            <p:cNvPr id="35" name="Arc 34"/>
            <p:cNvSpPr/>
            <p:nvPr/>
          </p:nvSpPr>
          <p:spPr bwMode="auto">
            <a:xfrm rot="21240000">
              <a:off x="1242000" y="4859858"/>
              <a:ext cx="1982572" cy="2007592"/>
            </a:xfrm>
            <a:prstGeom prst="arc">
              <a:avLst>
                <a:gd name="adj1" fmla="val 16229740"/>
                <a:gd name="adj2" fmla="val 21156356"/>
              </a:avLst>
            </a:prstGeom>
            <a:noFill/>
            <a:ln w="57150" cap="flat" cmpd="sng" algn="ctr">
              <a:solidFill>
                <a:srgbClr val="00B0F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8990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765" b="0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0" y="3733800"/>
              <a:ext cx="2494668" cy="2446671"/>
              <a:chOff x="609600" y="4509254"/>
              <a:chExt cx="1874281" cy="1838220"/>
            </a:xfrm>
          </p:grpSpPr>
          <p:sp>
            <p:nvSpPr>
              <p:cNvPr id="94" name="Freeform 219"/>
              <p:cNvSpPr>
                <a:spLocks noEditPoints="1"/>
              </p:cNvSpPr>
              <p:nvPr/>
            </p:nvSpPr>
            <p:spPr bwMode="auto">
              <a:xfrm>
                <a:off x="609600" y="4509254"/>
                <a:ext cx="1874281" cy="1838220"/>
              </a:xfrm>
              <a:custGeom>
                <a:avLst/>
                <a:gdLst>
                  <a:gd name="T0" fmla="*/ 29 w 68"/>
                  <a:gd name="T1" fmla="*/ 68 h 69"/>
                  <a:gd name="T2" fmla="*/ 22 w 68"/>
                  <a:gd name="T3" fmla="*/ 66 h 69"/>
                  <a:gd name="T4" fmla="*/ 14 w 68"/>
                  <a:gd name="T5" fmla="*/ 62 h 69"/>
                  <a:gd name="T6" fmla="*/ 9 w 68"/>
                  <a:gd name="T7" fmla="*/ 58 h 69"/>
                  <a:gd name="T8" fmla="*/ 3 w 68"/>
                  <a:gd name="T9" fmla="*/ 50 h 69"/>
                  <a:gd name="T10" fmla="*/ 1 w 68"/>
                  <a:gd name="T11" fmla="*/ 41 h 69"/>
                  <a:gd name="T12" fmla="*/ 0 w 68"/>
                  <a:gd name="T13" fmla="*/ 32 h 69"/>
                  <a:gd name="T14" fmla="*/ 2 w 68"/>
                  <a:gd name="T15" fmla="*/ 20 h 69"/>
                  <a:gd name="T16" fmla="*/ 6 w 68"/>
                  <a:gd name="T17" fmla="*/ 13 h 69"/>
                  <a:gd name="T18" fmla="*/ 13 w 68"/>
                  <a:gd name="T19" fmla="*/ 6 h 69"/>
                  <a:gd name="T20" fmla="*/ 24 w 68"/>
                  <a:gd name="T21" fmla="*/ 1 h 69"/>
                  <a:gd name="T22" fmla="*/ 31 w 68"/>
                  <a:gd name="T23" fmla="*/ 0 h 69"/>
                  <a:gd name="T24" fmla="*/ 34 w 68"/>
                  <a:gd name="T25" fmla="*/ 0 h 69"/>
                  <a:gd name="T26" fmla="*/ 43 w 68"/>
                  <a:gd name="T27" fmla="*/ 2 h 69"/>
                  <a:gd name="T28" fmla="*/ 48 w 68"/>
                  <a:gd name="T29" fmla="*/ 4 h 69"/>
                  <a:gd name="T30" fmla="*/ 54 w 68"/>
                  <a:gd name="T31" fmla="*/ 7 h 69"/>
                  <a:gd name="T32" fmla="*/ 59 w 68"/>
                  <a:gd name="T33" fmla="*/ 12 h 69"/>
                  <a:gd name="T34" fmla="*/ 63 w 68"/>
                  <a:gd name="T35" fmla="*/ 17 h 69"/>
                  <a:gd name="T36" fmla="*/ 67 w 68"/>
                  <a:gd name="T37" fmla="*/ 27 h 69"/>
                  <a:gd name="T38" fmla="*/ 67 w 68"/>
                  <a:gd name="T39" fmla="*/ 30 h 69"/>
                  <a:gd name="T40" fmla="*/ 67 w 68"/>
                  <a:gd name="T41" fmla="*/ 39 h 69"/>
                  <a:gd name="T42" fmla="*/ 66 w 68"/>
                  <a:gd name="T43" fmla="*/ 44 h 69"/>
                  <a:gd name="T44" fmla="*/ 62 w 68"/>
                  <a:gd name="T45" fmla="*/ 53 h 69"/>
                  <a:gd name="T46" fmla="*/ 56 w 68"/>
                  <a:gd name="T47" fmla="*/ 61 h 69"/>
                  <a:gd name="T48" fmla="*/ 49 w 68"/>
                  <a:gd name="T49" fmla="*/ 65 h 69"/>
                  <a:gd name="T50" fmla="*/ 39 w 68"/>
                  <a:gd name="T51" fmla="*/ 68 h 69"/>
                  <a:gd name="T52" fmla="*/ 33 w 68"/>
                  <a:gd name="T53" fmla="*/ 68 h 69"/>
                  <a:gd name="T54" fmla="*/ 36 w 68"/>
                  <a:gd name="T55" fmla="*/ 65 h 69"/>
                  <a:gd name="T56" fmla="*/ 42 w 68"/>
                  <a:gd name="T57" fmla="*/ 64 h 69"/>
                  <a:gd name="T58" fmla="*/ 52 w 68"/>
                  <a:gd name="T59" fmla="*/ 60 h 69"/>
                  <a:gd name="T60" fmla="*/ 60 w 68"/>
                  <a:gd name="T61" fmla="*/ 52 h 69"/>
                  <a:gd name="T62" fmla="*/ 64 w 68"/>
                  <a:gd name="T63" fmla="*/ 43 h 69"/>
                  <a:gd name="T64" fmla="*/ 65 w 68"/>
                  <a:gd name="T65" fmla="*/ 36 h 69"/>
                  <a:gd name="T66" fmla="*/ 65 w 68"/>
                  <a:gd name="T67" fmla="*/ 30 h 69"/>
                  <a:gd name="T68" fmla="*/ 61 w 68"/>
                  <a:gd name="T69" fmla="*/ 19 h 69"/>
                  <a:gd name="T70" fmla="*/ 56 w 68"/>
                  <a:gd name="T71" fmla="*/ 13 h 69"/>
                  <a:gd name="T72" fmla="*/ 50 w 68"/>
                  <a:gd name="T73" fmla="*/ 9 h 69"/>
                  <a:gd name="T74" fmla="*/ 42 w 68"/>
                  <a:gd name="T75" fmla="*/ 6 h 69"/>
                  <a:gd name="T76" fmla="*/ 39 w 68"/>
                  <a:gd name="T77" fmla="*/ 4 h 69"/>
                  <a:gd name="T78" fmla="*/ 38 w 68"/>
                  <a:gd name="T79" fmla="*/ 3 h 69"/>
                  <a:gd name="T80" fmla="*/ 30 w 68"/>
                  <a:gd name="T81" fmla="*/ 3 h 69"/>
                  <a:gd name="T82" fmla="*/ 22 w 68"/>
                  <a:gd name="T83" fmla="*/ 4 h 69"/>
                  <a:gd name="T84" fmla="*/ 14 w 68"/>
                  <a:gd name="T85" fmla="*/ 8 h 69"/>
                  <a:gd name="T86" fmla="*/ 9 w 68"/>
                  <a:gd name="T87" fmla="*/ 13 h 69"/>
                  <a:gd name="T88" fmla="*/ 4 w 68"/>
                  <a:gd name="T89" fmla="*/ 21 h 69"/>
                  <a:gd name="T90" fmla="*/ 2 w 68"/>
                  <a:gd name="T91" fmla="*/ 28 h 69"/>
                  <a:gd name="T92" fmla="*/ 2 w 68"/>
                  <a:gd name="T93" fmla="*/ 32 h 69"/>
                  <a:gd name="T94" fmla="*/ 2 w 68"/>
                  <a:gd name="T95" fmla="*/ 38 h 69"/>
                  <a:gd name="T96" fmla="*/ 3 w 68"/>
                  <a:gd name="T97" fmla="*/ 40 h 69"/>
                  <a:gd name="T98" fmla="*/ 6 w 68"/>
                  <a:gd name="T99" fmla="*/ 48 h 69"/>
                  <a:gd name="T100" fmla="*/ 11 w 68"/>
                  <a:gd name="T101" fmla="*/ 55 h 69"/>
                  <a:gd name="T102" fmla="*/ 13 w 68"/>
                  <a:gd name="T103" fmla="*/ 57 h 69"/>
                  <a:gd name="T104" fmla="*/ 16 w 68"/>
                  <a:gd name="T105" fmla="*/ 59 h 69"/>
                  <a:gd name="T106" fmla="*/ 17 w 68"/>
                  <a:gd name="T107" fmla="*/ 60 h 69"/>
                  <a:gd name="T108" fmla="*/ 25 w 68"/>
                  <a:gd name="T109" fmla="*/ 63 h 69"/>
                  <a:gd name="T110" fmla="*/ 30 w 68"/>
                  <a:gd name="T111" fmla="*/ 64 h 69"/>
                  <a:gd name="T112" fmla="*/ 36 w 68"/>
                  <a:gd name="T113" fmla="*/ 6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8" h="69">
                    <a:moveTo>
                      <a:pt x="33" y="68"/>
                    </a:moveTo>
                    <a:cubicBezTo>
                      <a:pt x="32" y="68"/>
                      <a:pt x="31" y="69"/>
                      <a:pt x="29" y="68"/>
                    </a:cubicBezTo>
                    <a:cubicBezTo>
                      <a:pt x="28" y="68"/>
                      <a:pt x="26" y="68"/>
                      <a:pt x="25" y="67"/>
                    </a:cubicBezTo>
                    <a:cubicBezTo>
                      <a:pt x="24" y="67"/>
                      <a:pt x="23" y="67"/>
                      <a:pt x="22" y="66"/>
                    </a:cubicBezTo>
                    <a:cubicBezTo>
                      <a:pt x="21" y="66"/>
                      <a:pt x="20" y="65"/>
                      <a:pt x="19" y="65"/>
                    </a:cubicBezTo>
                    <a:cubicBezTo>
                      <a:pt x="17" y="64"/>
                      <a:pt x="15" y="63"/>
                      <a:pt x="14" y="62"/>
                    </a:cubicBezTo>
                    <a:cubicBezTo>
                      <a:pt x="13" y="62"/>
                      <a:pt x="13" y="61"/>
                      <a:pt x="12" y="61"/>
                    </a:cubicBezTo>
                    <a:cubicBezTo>
                      <a:pt x="11" y="60"/>
                      <a:pt x="10" y="59"/>
                      <a:pt x="9" y="58"/>
                    </a:cubicBezTo>
                    <a:cubicBezTo>
                      <a:pt x="8" y="56"/>
                      <a:pt x="7" y="55"/>
                      <a:pt x="6" y="54"/>
                    </a:cubicBezTo>
                    <a:cubicBezTo>
                      <a:pt x="5" y="53"/>
                      <a:pt x="4" y="51"/>
                      <a:pt x="3" y="50"/>
                    </a:cubicBezTo>
                    <a:cubicBezTo>
                      <a:pt x="3" y="48"/>
                      <a:pt x="2" y="47"/>
                      <a:pt x="2" y="46"/>
                    </a:cubicBezTo>
                    <a:cubicBezTo>
                      <a:pt x="1" y="44"/>
                      <a:pt x="1" y="43"/>
                      <a:pt x="1" y="41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36"/>
                      <a:pt x="0" y="34"/>
                      <a:pt x="0" y="32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1" y="24"/>
                      <a:pt x="2" y="22"/>
                      <a:pt x="2" y="20"/>
                    </a:cubicBezTo>
                    <a:cubicBezTo>
                      <a:pt x="3" y="19"/>
                      <a:pt x="3" y="18"/>
                      <a:pt x="4" y="17"/>
                    </a:cubicBezTo>
                    <a:cubicBezTo>
                      <a:pt x="5" y="16"/>
                      <a:pt x="5" y="14"/>
                      <a:pt x="6" y="13"/>
                    </a:cubicBezTo>
                    <a:cubicBezTo>
                      <a:pt x="7" y="12"/>
                      <a:pt x="8" y="11"/>
                      <a:pt x="9" y="10"/>
                    </a:cubicBezTo>
                    <a:cubicBezTo>
                      <a:pt x="10" y="8"/>
                      <a:pt x="11" y="7"/>
                      <a:pt x="13" y="6"/>
                    </a:cubicBezTo>
                    <a:cubicBezTo>
                      <a:pt x="14" y="5"/>
                      <a:pt x="15" y="4"/>
                      <a:pt x="17" y="3"/>
                    </a:cubicBezTo>
                    <a:cubicBezTo>
                      <a:pt x="19" y="2"/>
                      <a:pt x="22" y="1"/>
                      <a:pt x="24" y="1"/>
                    </a:cubicBezTo>
                    <a:cubicBezTo>
                      <a:pt x="26" y="0"/>
                      <a:pt x="27" y="0"/>
                      <a:pt x="28" y="0"/>
                    </a:cubicBezTo>
                    <a:cubicBezTo>
                      <a:pt x="29" y="0"/>
                      <a:pt x="30" y="0"/>
                      <a:pt x="31" y="0"/>
                    </a:cubicBezTo>
                    <a:cubicBezTo>
                      <a:pt x="31" y="0"/>
                      <a:pt x="32" y="0"/>
                      <a:pt x="32" y="0"/>
                    </a:cubicBezTo>
                    <a:cubicBezTo>
                      <a:pt x="33" y="0"/>
                      <a:pt x="34" y="0"/>
                      <a:pt x="34" y="0"/>
                    </a:cubicBezTo>
                    <a:cubicBezTo>
                      <a:pt x="36" y="0"/>
                      <a:pt x="37" y="0"/>
                      <a:pt x="38" y="0"/>
                    </a:cubicBezTo>
                    <a:cubicBezTo>
                      <a:pt x="40" y="0"/>
                      <a:pt x="41" y="1"/>
                      <a:pt x="43" y="2"/>
                    </a:cubicBezTo>
                    <a:cubicBezTo>
                      <a:pt x="44" y="2"/>
                      <a:pt x="45" y="3"/>
                      <a:pt x="46" y="3"/>
                    </a:cubicBezTo>
                    <a:cubicBezTo>
                      <a:pt x="47" y="3"/>
                      <a:pt x="48" y="3"/>
                      <a:pt x="48" y="4"/>
                    </a:cubicBezTo>
                    <a:cubicBezTo>
                      <a:pt x="50" y="5"/>
                      <a:pt x="52" y="6"/>
                      <a:pt x="53" y="7"/>
                    </a:cubicBezTo>
                    <a:cubicBezTo>
                      <a:pt x="54" y="7"/>
                      <a:pt x="54" y="7"/>
                      <a:pt x="54" y="7"/>
                    </a:cubicBezTo>
                    <a:cubicBezTo>
                      <a:pt x="55" y="8"/>
                      <a:pt x="56" y="9"/>
                      <a:pt x="57" y="10"/>
                    </a:cubicBezTo>
                    <a:cubicBezTo>
                      <a:pt x="58" y="10"/>
                      <a:pt x="58" y="11"/>
                      <a:pt x="59" y="12"/>
                    </a:cubicBezTo>
                    <a:cubicBezTo>
                      <a:pt x="60" y="13"/>
                      <a:pt x="61" y="14"/>
                      <a:pt x="61" y="14"/>
                    </a:cubicBezTo>
                    <a:cubicBezTo>
                      <a:pt x="62" y="15"/>
                      <a:pt x="62" y="16"/>
                      <a:pt x="63" y="17"/>
                    </a:cubicBezTo>
                    <a:cubicBezTo>
                      <a:pt x="64" y="19"/>
                      <a:pt x="65" y="21"/>
                      <a:pt x="66" y="23"/>
                    </a:cubicBezTo>
                    <a:cubicBezTo>
                      <a:pt x="66" y="24"/>
                      <a:pt x="67" y="25"/>
                      <a:pt x="67" y="27"/>
                    </a:cubicBezTo>
                    <a:cubicBezTo>
                      <a:pt x="67" y="28"/>
                      <a:pt x="67" y="29"/>
                      <a:pt x="67" y="30"/>
                    </a:cubicBezTo>
                    <a:cubicBezTo>
                      <a:pt x="67" y="30"/>
                      <a:pt x="67" y="30"/>
                      <a:pt x="67" y="30"/>
                    </a:cubicBezTo>
                    <a:cubicBezTo>
                      <a:pt x="67" y="32"/>
                      <a:pt x="68" y="33"/>
                      <a:pt x="67" y="35"/>
                    </a:cubicBezTo>
                    <a:cubicBezTo>
                      <a:pt x="67" y="36"/>
                      <a:pt x="67" y="37"/>
                      <a:pt x="67" y="39"/>
                    </a:cubicBezTo>
                    <a:cubicBezTo>
                      <a:pt x="67" y="39"/>
                      <a:pt x="67" y="40"/>
                      <a:pt x="67" y="41"/>
                    </a:cubicBezTo>
                    <a:cubicBezTo>
                      <a:pt x="66" y="42"/>
                      <a:pt x="66" y="43"/>
                      <a:pt x="66" y="44"/>
                    </a:cubicBezTo>
                    <a:cubicBezTo>
                      <a:pt x="65" y="46"/>
                      <a:pt x="65" y="47"/>
                      <a:pt x="64" y="49"/>
                    </a:cubicBezTo>
                    <a:cubicBezTo>
                      <a:pt x="64" y="50"/>
                      <a:pt x="63" y="51"/>
                      <a:pt x="62" y="53"/>
                    </a:cubicBezTo>
                    <a:cubicBezTo>
                      <a:pt x="62" y="54"/>
                      <a:pt x="61" y="56"/>
                      <a:pt x="60" y="57"/>
                    </a:cubicBezTo>
                    <a:cubicBezTo>
                      <a:pt x="58" y="58"/>
                      <a:pt x="57" y="60"/>
                      <a:pt x="56" y="61"/>
                    </a:cubicBezTo>
                    <a:cubicBezTo>
                      <a:pt x="54" y="62"/>
                      <a:pt x="53" y="63"/>
                      <a:pt x="52" y="64"/>
                    </a:cubicBezTo>
                    <a:cubicBezTo>
                      <a:pt x="51" y="64"/>
                      <a:pt x="50" y="65"/>
                      <a:pt x="49" y="65"/>
                    </a:cubicBezTo>
                    <a:cubicBezTo>
                      <a:pt x="47" y="66"/>
                      <a:pt x="46" y="67"/>
                      <a:pt x="44" y="67"/>
                    </a:cubicBezTo>
                    <a:cubicBezTo>
                      <a:pt x="42" y="68"/>
                      <a:pt x="41" y="68"/>
                      <a:pt x="39" y="68"/>
                    </a:cubicBezTo>
                    <a:cubicBezTo>
                      <a:pt x="37" y="68"/>
                      <a:pt x="35" y="69"/>
                      <a:pt x="33" y="69"/>
                    </a:cubicBezTo>
                    <a:cubicBezTo>
                      <a:pt x="33" y="69"/>
                      <a:pt x="33" y="68"/>
                      <a:pt x="33" y="68"/>
                    </a:cubicBezTo>
                    <a:close/>
                    <a:moveTo>
                      <a:pt x="36" y="65"/>
                    </a:move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5"/>
                      <a:pt x="37" y="64"/>
                      <a:pt x="37" y="64"/>
                    </a:cubicBezTo>
                    <a:cubicBezTo>
                      <a:pt x="39" y="64"/>
                      <a:pt x="41" y="64"/>
                      <a:pt x="42" y="64"/>
                    </a:cubicBezTo>
                    <a:cubicBezTo>
                      <a:pt x="44" y="63"/>
                      <a:pt x="46" y="62"/>
                      <a:pt x="49" y="61"/>
                    </a:cubicBezTo>
                    <a:cubicBezTo>
                      <a:pt x="50" y="61"/>
                      <a:pt x="51" y="60"/>
                      <a:pt x="52" y="60"/>
                    </a:cubicBezTo>
                    <a:cubicBezTo>
                      <a:pt x="53" y="59"/>
                      <a:pt x="55" y="58"/>
                      <a:pt x="56" y="57"/>
                    </a:cubicBezTo>
                    <a:cubicBezTo>
                      <a:pt x="57" y="56"/>
                      <a:pt x="59" y="54"/>
                      <a:pt x="60" y="52"/>
                    </a:cubicBezTo>
                    <a:cubicBezTo>
                      <a:pt x="61" y="51"/>
                      <a:pt x="62" y="49"/>
                      <a:pt x="62" y="48"/>
                    </a:cubicBezTo>
                    <a:cubicBezTo>
                      <a:pt x="63" y="46"/>
                      <a:pt x="64" y="44"/>
                      <a:pt x="64" y="43"/>
                    </a:cubicBezTo>
                    <a:cubicBezTo>
                      <a:pt x="65" y="41"/>
                      <a:pt x="65" y="40"/>
                      <a:pt x="65" y="38"/>
                    </a:cubicBezTo>
                    <a:cubicBezTo>
                      <a:pt x="65" y="38"/>
                      <a:pt x="65" y="37"/>
                      <a:pt x="65" y="36"/>
                    </a:cubicBezTo>
                    <a:cubicBezTo>
                      <a:pt x="65" y="35"/>
                      <a:pt x="65" y="34"/>
                      <a:pt x="65" y="33"/>
                    </a:cubicBezTo>
                    <a:cubicBezTo>
                      <a:pt x="65" y="32"/>
                      <a:pt x="65" y="31"/>
                      <a:pt x="65" y="30"/>
                    </a:cubicBezTo>
                    <a:cubicBezTo>
                      <a:pt x="64" y="28"/>
                      <a:pt x="64" y="25"/>
                      <a:pt x="63" y="24"/>
                    </a:cubicBezTo>
                    <a:cubicBezTo>
                      <a:pt x="62" y="22"/>
                      <a:pt x="62" y="21"/>
                      <a:pt x="61" y="19"/>
                    </a:cubicBezTo>
                    <a:cubicBezTo>
                      <a:pt x="60" y="18"/>
                      <a:pt x="59" y="16"/>
                      <a:pt x="58" y="15"/>
                    </a:cubicBezTo>
                    <a:cubicBezTo>
                      <a:pt x="57" y="14"/>
                      <a:pt x="57" y="14"/>
                      <a:pt x="56" y="13"/>
                    </a:cubicBezTo>
                    <a:cubicBezTo>
                      <a:pt x="55" y="13"/>
                      <a:pt x="54" y="12"/>
                      <a:pt x="54" y="11"/>
                    </a:cubicBezTo>
                    <a:cubicBezTo>
                      <a:pt x="52" y="10"/>
                      <a:pt x="51" y="10"/>
                      <a:pt x="50" y="9"/>
                    </a:cubicBezTo>
                    <a:cubicBezTo>
                      <a:pt x="49" y="8"/>
                      <a:pt x="47" y="7"/>
                      <a:pt x="46" y="7"/>
                    </a:cubicBezTo>
                    <a:cubicBezTo>
                      <a:pt x="45" y="6"/>
                      <a:pt x="43" y="6"/>
                      <a:pt x="42" y="6"/>
                    </a:cubicBezTo>
                    <a:cubicBezTo>
                      <a:pt x="41" y="6"/>
                      <a:pt x="40" y="6"/>
                      <a:pt x="40" y="5"/>
                    </a:cubicBezTo>
                    <a:cubicBezTo>
                      <a:pt x="39" y="5"/>
                      <a:pt x="39" y="5"/>
                      <a:pt x="39" y="4"/>
                    </a:cubicBezTo>
                    <a:cubicBezTo>
                      <a:pt x="39" y="4"/>
                      <a:pt x="39" y="4"/>
                      <a:pt x="38" y="4"/>
                    </a:cubicBezTo>
                    <a:cubicBezTo>
                      <a:pt x="38" y="4"/>
                      <a:pt x="38" y="4"/>
                      <a:pt x="38" y="3"/>
                    </a:cubicBezTo>
                    <a:cubicBezTo>
                      <a:pt x="36" y="3"/>
                      <a:pt x="35" y="3"/>
                      <a:pt x="33" y="3"/>
                    </a:cubicBezTo>
                    <a:cubicBezTo>
                      <a:pt x="32" y="3"/>
                      <a:pt x="31" y="3"/>
                      <a:pt x="30" y="3"/>
                    </a:cubicBezTo>
                    <a:cubicBezTo>
                      <a:pt x="29" y="3"/>
                      <a:pt x="29" y="3"/>
                      <a:pt x="28" y="3"/>
                    </a:cubicBezTo>
                    <a:cubicBezTo>
                      <a:pt x="26" y="3"/>
                      <a:pt x="24" y="4"/>
                      <a:pt x="22" y="4"/>
                    </a:cubicBezTo>
                    <a:cubicBezTo>
                      <a:pt x="21" y="5"/>
                      <a:pt x="19" y="5"/>
                      <a:pt x="18" y="6"/>
                    </a:cubicBezTo>
                    <a:cubicBezTo>
                      <a:pt x="17" y="7"/>
                      <a:pt x="15" y="7"/>
                      <a:pt x="14" y="8"/>
                    </a:cubicBezTo>
                    <a:cubicBezTo>
                      <a:pt x="13" y="9"/>
                      <a:pt x="12" y="10"/>
                      <a:pt x="11" y="11"/>
                    </a:cubicBezTo>
                    <a:cubicBezTo>
                      <a:pt x="10" y="12"/>
                      <a:pt x="10" y="12"/>
                      <a:pt x="9" y="13"/>
                    </a:cubicBezTo>
                    <a:cubicBezTo>
                      <a:pt x="8" y="14"/>
                      <a:pt x="7" y="15"/>
                      <a:pt x="7" y="16"/>
                    </a:cubicBezTo>
                    <a:cubicBezTo>
                      <a:pt x="6" y="18"/>
                      <a:pt x="5" y="19"/>
                      <a:pt x="4" y="21"/>
                    </a:cubicBezTo>
                    <a:cubicBezTo>
                      <a:pt x="4" y="22"/>
                      <a:pt x="3" y="24"/>
                      <a:pt x="3" y="25"/>
                    </a:cubicBezTo>
                    <a:cubicBezTo>
                      <a:pt x="3" y="26"/>
                      <a:pt x="3" y="27"/>
                      <a:pt x="2" y="28"/>
                    </a:cubicBezTo>
                    <a:cubicBezTo>
                      <a:pt x="2" y="28"/>
                      <a:pt x="2" y="29"/>
                      <a:pt x="2" y="30"/>
                    </a:cubicBezTo>
                    <a:cubicBezTo>
                      <a:pt x="2" y="31"/>
                      <a:pt x="2" y="31"/>
                      <a:pt x="2" y="32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2" y="35"/>
                      <a:pt x="2" y="36"/>
                      <a:pt x="2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9"/>
                      <a:pt x="3" y="40"/>
                      <a:pt x="3" y="40"/>
                    </a:cubicBezTo>
                    <a:cubicBezTo>
                      <a:pt x="3" y="42"/>
                      <a:pt x="4" y="43"/>
                      <a:pt x="4" y="44"/>
                    </a:cubicBezTo>
                    <a:cubicBezTo>
                      <a:pt x="5" y="46"/>
                      <a:pt x="5" y="47"/>
                      <a:pt x="6" y="48"/>
                    </a:cubicBezTo>
                    <a:cubicBezTo>
                      <a:pt x="6" y="49"/>
                      <a:pt x="7" y="50"/>
                      <a:pt x="8" y="51"/>
                    </a:cubicBezTo>
                    <a:cubicBezTo>
                      <a:pt x="9" y="52"/>
                      <a:pt x="10" y="54"/>
                      <a:pt x="11" y="55"/>
                    </a:cubicBezTo>
                    <a:cubicBezTo>
                      <a:pt x="11" y="55"/>
                      <a:pt x="11" y="55"/>
                      <a:pt x="12" y="56"/>
                    </a:cubicBezTo>
                    <a:cubicBezTo>
                      <a:pt x="12" y="56"/>
                      <a:pt x="13" y="56"/>
                      <a:pt x="13" y="57"/>
                    </a:cubicBezTo>
                    <a:cubicBezTo>
                      <a:pt x="13" y="57"/>
                      <a:pt x="13" y="57"/>
                      <a:pt x="14" y="57"/>
                    </a:cubicBezTo>
                    <a:cubicBezTo>
                      <a:pt x="14" y="58"/>
                      <a:pt x="15" y="59"/>
                      <a:pt x="16" y="59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18" y="60"/>
                      <a:pt x="20" y="61"/>
                      <a:pt x="21" y="62"/>
                    </a:cubicBezTo>
                    <a:cubicBezTo>
                      <a:pt x="23" y="62"/>
                      <a:pt x="23" y="63"/>
                      <a:pt x="25" y="63"/>
                    </a:cubicBezTo>
                    <a:cubicBezTo>
                      <a:pt x="26" y="63"/>
                      <a:pt x="27" y="64"/>
                      <a:pt x="28" y="64"/>
                    </a:cubicBezTo>
                    <a:cubicBezTo>
                      <a:pt x="28" y="64"/>
                      <a:pt x="29" y="64"/>
                      <a:pt x="30" y="64"/>
                    </a:cubicBezTo>
                    <a:cubicBezTo>
                      <a:pt x="31" y="64"/>
                      <a:pt x="31" y="65"/>
                      <a:pt x="32" y="65"/>
                    </a:cubicBezTo>
                    <a:cubicBezTo>
                      <a:pt x="34" y="65"/>
                      <a:pt x="35" y="65"/>
                      <a:pt x="36" y="6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90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94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viar Dreams" panose="020B0402020204020504"/>
                  <a:ea typeface="+mn-ea"/>
                  <a:cs typeface="+mn-cs"/>
                </a:endParaRPr>
              </a:p>
              <a:p>
                <a:pPr marL="0" marR="0" lvl="0" indent="0" algn="l" defTabSz="8990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94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viar Dreams" panose="020B0402020204020504"/>
                  <a:ea typeface="+mn-ea"/>
                  <a:cs typeface="+mn-cs"/>
                </a:endParaRP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1132462" y="4724400"/>
                <a:ext cx="467738" cy="607725"/>
                <a:chOff x="1323342" y="5004554"/>
                <a:chExt cx="753296" cy="808882"/>
              </a:xfrm>
            </p:grpSpPr>
            <p:sp>
              <p:nvSpPr>
                <p:cNvPr id="102" name="Freeform 101"/>
                <p:cNvSpPr>
                  <a:spLocks/>
                </p:cNvSpPr>
                <p:nvPr/>
              </p:nvSpPr>
              <p:spPr bwMode="auto">
                <a:xfrm>
                  <a:off x="1323342" y="5330354"/>
                  <a:ext cx="289896" cy="156046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tx2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 102"/>
                <p:cNvSpPr>
                  <a:spLocks/>
                </p:cNvSpPr>
                <p:nvPr/>
              </p:nvSpPr>
              <p:spPr bwMode="auto">
                <a:xfrm>
                  <a:off x="1786742" y="5335734"/>
                  <a:ext cx="289896" cy="156047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105"/>
                <p:cNvSpPr>
                  <a:spLocks/>
                </p:cNvSpPr>
                <p:nvPr/>
              </p:nvSpPr>
              <p:spPr bwMode="auto">
                <a:xfrm>
                  <a:off x="1323342" y="5004554"/>
                  <a:ext cx="289896" cy="156046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09" name="Picture 108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382832" y="5236003"/>
                  <a:ext cx="168251" cy="15214"/>
                </a:xfrm>
                <a:prstGeom prst="rect">
                  <a:avLst/>
                </a:prstGeom>
              </p:spPr>
            </p:pic>
            <p:sp>
              <p:nvSpPr>
                <p:cNvPr id="110" name="Freeform 109"/>
                <p:cNvSpPr>
                  <a:spLocks/>
                </p:cNvSpPr>
                <p:nvPr/>
              </p:nvSpPr>
              <p:spPr bwMode="auto">
                <a:xfrm>
                  <a:off x="1325702" y="5657390"/>
                  <a:ext cx="289896" cy="156046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tx2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12" name="Picture 111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385192" y="5563039"/>
                  <a:ext cx="168251" cy="15214"/>
                </a:xfrm>
                <a:prstGeom prst="rect">
                  <a:avLst/>
                </a:prstGeom>
              </p:spPr>
            </p:pic>
            <p:pic>
              <p:nvPicPr>
                <p:cNvPr id="113" name="Picture 112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10740000">
                  <a:off x="1609463" y="5391401"/>
                  <a:ext cx="168251" cy="15214"/>
                </a:xfrm>
                <a:prstGeom prst="rect">
                  <a:avLst/>
                </a:prstGeom>
              </p:spPr>
            </p:pic>
          </p:grpSp>
          <p:grpSp>
            <p:nvGrpSpPr>
              <p:cNvPr id="26" name="Group 25"/>
              <p:cNvGrpSpPr/>
              <p:nvPr/>
            </p:nvGrpSpPr>
            <p:grpSpPr>
              <a:xfrm>
                <a:off x="995129" y="5578665"/>
                <a:ext cx="833671" cy="364935"/>
                <a:chOff x="1249103" y="5645677"/>
                <a:chExt cx="917038" cy="401428"/>
              </a:xfrm>
            </p:grpSpPr>
            <p:sp>
              <p:nvSpPr>
                <p:cNvPr id="115" name="Freeform 114"/>
                <p:cNvSpPr>
                  <a:spLocks/>
                </p:cNvSpPr>
                <p:nvPr/>
              </p:nvSpPr>
              <p:spPr bwMode="auto">
                <a:xfrm>
                  <a:off x="1249103" y="5915611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tx2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116"/>
                <p:cNvSpPr>
                  <a:spLocks/>
                </p:cNvSpPr>
                <p:nvPr/>
              </p:nvSpPr>
              <p:spPr bwMode="auto">
                <a:xfrm>
                  <a:off x="1249103" y="5646355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18" name="Picture 117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287478" y="5838207"/>
                  <a:ext cx="139050" cy="11431"/>
                </a:xfrm>
                <a:prstGeom prst="rect">
                  <a:avLst/>
                </a:prstGeom>
              </p:spPr>
            </p:pic>
            <p:sp>
              <p:nvSpPr>
                <p:cNvPr id="122" name="Freeform 121"/>
                <p:cNvSpPr>
                  <a:spLocks/>
                </p:cNvSpPr>
                <p:nvPr/>
              </p:nvSpPr>
              <p:spPr bwMode="auto">
                <a:xfrm>
                  <a:off x="1597263" y="5918141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tx2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 122"/>
                <p:cNvSpPr>
                  <a:spLocks/>
                </p:cNvSpPr>
                <p:nvPr/>
              </p:nvSpPr>
              <p:spPr bwMode="auto">
                <a:xfrm>
                  <a:off x="1597263" y="5645677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24" name="Picture 123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635638" y="5837529"/>
                  <a:ext cx="139050" cy="11431"/>
                </a:xfrm>
                <a:prstGeom prst="rect">
                  <a:avLst/>
                </a:prstGeom>
              </p:spPr>
            </p:pic>
            <p:pic>
              <p:nvPicPr>
                <p:cNvPr id="125" name="Picture 124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10740000">
                  <a:off x="1459828" y="5977458"/>
                  <a:ext cx="139050" cy="11431"/>
                </a:xfrm>
                <a:prstGeom prst="rect">
                  <a:avLst/>
                </a:prstGeom>
              </p:spPr>
            </p:pic>
            <p:sp>
              <p:nvSpPr>
                <p:cNvPr id="126" name="Freeform 125"/>
                <p:cNvSpPr>
                  <a:spLocks/>
                </p:cNvSpPr>
                <p:nvPr/>
              </p:nvSpPr>
              <p:spPr bwMode="auto">
                <a:xfrm>
                  <a:off x="1948338" y="5917502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tx2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27" name="Picture 126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10740000">
                  <a:off x="1810903" y="5980027"/>
                  <a:ext cx="139050" cy="11431"/>
                </a:xfrm>
                <a:prstGeom prst="rect">
                  <a:avLst/>
                </a:prstGeom>
              </p:spPr>
            </p:pic>
          </p:grpSp>
          <p:grpSp>
            <p:nvGrpSpPr>
              <p:cNvPr id="128" name="Group 127"/>
              <p:cNvGrpSpPr/>
              <p:nvPr/>
            </p:nvGrpSpPr>
            <p:grpSpPr>
              <a:xfrm>
                <a:off x="1702125" y="5031075"/>
                <a:ext cx="514512" cy="607725"/>
                <a:chOff x="1323342" y="5004554"/>
                <a:chExt cx="753296" cy="808882"/>
              </a:xfrm>
            </p:grpSpPr>
            <p:sp>
              <p:nvSpPr>
                <p:cNvPr id="129" name="Freeform 128"/>
                <p:cNvSpPr>
                  <a:spLocks/>
                </p:cNvSpPr>
                <p:nvPr/>
              </p:nvSpPr>
              <p:spPr bwMode="auto">
                <a:xfrm>
                  <a:off x="1323342" y="5330354"/>
                  <a:ext cx="289896" cy="156046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tx2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Freeform 129"/>
                <p:cNvSpPr>
                  <a:spLocks/>
                </p:cNvSpPr>
                <p:nvPr/>
              </p:nvSpPr>
              <p:spPr bwMode="auto">
                <a:xfrm>
                  <a:off x="1786742" y="5335734"/>
                  <a:ext cx="289896" cy="156047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reeform 130"/>
                <p:cNvSpPr>
                  <a:spLocks/>
                </p:cNvSpPr>
                <p:nvPr/>
              </p:nvSpPr>
              <p:spPr bwMode="auto">
                <a:xfrm>
                  <a:off x="1323342" y="5004554"/>
                  <a:ext cx="289896" cy="156046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32" name="Picture 131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382832" y="5236003"/>
                  <a:ext cx="168251" cy="15214"/>
                </a:xfrm>
                <a:prstGeom prst="rect">
                  <a:avLst/>
                </a:prstGeom>
              </p:spPr>
            </p:pic>
            <p:sp>
              <p:nvSpPr>
                <p:cNvPr id="133" name="Freeform 132"/>
                <p:cNvSpPr>
                  <a:spLocks/>
                </p:cNvSpPr>
                <p:nvPr/>
              </p:nvSpPr>
              <p:spPr bwMode="auto">
                <a:xfrm>
                  <a:off x="1325702" y="5657390"/>
                  <a:ext cx="289896" cy="156046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tx2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34" name="Picture 133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385192" y="5563039"/>
                  <a:ext cx="168251" cy="15214"/>
                </a:xfrm>
                <a:prstGeom prst="rect">
                  <a:avLst/>
                </a:prstGeom>
              </p:spPr>
            </p:pic>
            <p:pic>
              <p:nvPicPr>
                <p:cNvPr id="135" name="Picture 134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10740000">
                  <a:off x="1609463" y="5391401"/>
                  <a:ext cx="168251" cy="1521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7" name="Group 36"/>
            <p:cNvGrpSpPr/>
            <p:nvPr/>
          </p:nvGrpSpPr>
          <p:grpSpPr>
            <a:xfrm>
              <a:off x="2367730" y="5246691"/>
              <a:ext cx="2509070" cy="2446671"/>
              <a:chOff x="3215549" y="4627792"/>
              <a:chExt cx="1885102" cy="1838219"/>
            </a:xfrm>
          </p:grpSpPr>
          <p:sp>
            <p:nvSpPr>
              <p:cNvPr id="95" name="Freeform 219"/>
              <p:cNvSpPr>
                <a:spLocks noEditPoints="1"/>
              </p:cNvSpPr>
              <p:nvPr/>
            </p:nvSpPr>
            <p:spPr bwMode="auto">
              <a:xfrm>
                <a:off x="3215549" y="4627792"/>
                <a:ext cx="1885102" cy="1838219"/>
              </a:xfrm>
              <a:custGeom>
                <a:avLst/>
                <a:gdLst>
                  <a:gd name="T0" fmla="*/ 29 w 68"/>
                  <a:gd name="T1" fmla="*/ 68 h 69"/>
                  <a:gd name="T2" fmla="*/ 22 w 68"/>
                  <a:gd name="T3" fmla="*/ 66 h 69"/>
                  <a:gd name="T4" fmla="*/ 14 w 68"/>
                  <a:gd name="T5" fmla="*/ 62 h 69"/>
                  <a:gd name="T6" fmla="*/ 9 w 68"/>
                  <a:gd name="T7" fmla="*/ 58 h 69"/>
                  <a:gd name="T8" fmla="*/ 3 w 68"/>
                  <a:gd name="T9" fmla="*/ 50 h 69"/>
                  <a:gd name="T10" fmla="*/ 1 w 68"/>
                  <a:gd name="T11" fmla="*/ 41 h 69"/>
                  <a:gd name="T12" fmla="*/ 0 w 68"/>
                  <a:gd name="T13" fmla="*/ 32 h 69"/>
                  <a:gd name="T14" fmla="*/ 2 w 68"/>
                  <a:gd name="T15" fmla="*/ 20 h 69"/>
                  <a:gd name="T16" fmla="*/ 6 w 68"/>
                  <a:gd name="T17" fmla="*/ 13 h 69"/>
                  <a:gd name="T18" fmla="*/ 13 w 68"/>
                  <a:gd name="T19" fmla="*/ 6 h 69"/>
                  <a:gd name="T20" fmla="*/ 24 w 68"/>
                  <a:gd name="T21" fmla="*/ 1 h 69"/>
                  <a:gd name="T22" fmla="*/ 31 w 68"/>
                  <a:gd name="T23" fmla="*/ 0 h 69"/>
                  <a:gd name="T24" fmla="*/ 34 w 68"/>
                  <a:gd name="T25" fmla="*/ 0 h 69"/>
                  <a:gd name="T26" fmla="*/ 43 w 68"/>
                  <a:gd name="T27" fmla="*/ 2 h 69"/>
                  <a:gd name="T28" fmla="*/ 48 w 68"/>
                  <a:gd name="T29" fmla="*/ 4 h 69"/>
                  <a:gd name="T30" fmla="*/ 54 w 68"/>
                  <a:gd name="T31" fmla="*/ 7 h 69"/>
                  <a:gd name="T32" fmla="*/ 59 w 68"/>
                  <a:gd name="T33" fmla="*/ 12 h 69"/>
                  <a:gd name="T34" fmla="*/ 63 w 68"/>
                  <a:gd name="T35" fmla="*/ 17 h 69"/>
                  <a:gd name="T36" fmla="*/ 67 w 68"/>
                  <a:gd name="T37" fmla="*/ 27 h 69"/>
                  <a:gd name="T38" fmla="*/ 67 w 68"/>
                  <a:gd name="T39" fmla="*/ 30 h 69"/>
                  <a:gd name="T40" fmla="*/ 67 w 68"/>
                  <a:gd name="T41" fmla="*/ 39 h 69"/>
                  <a:gd name="T42" fmla="*/ 66 w 68"/>
                  <a:gd name="T43" fmla="*/ 44 h 69"/>
                  <a:gd name="T44" fmla="*/ 62 w 68"/>
                  <a:gd name="T45" fmla="*/ 53 h 69"/>
                  <a:gd name="T46" fmla="*/ 56 w 68"/>
                  <a:gd name="T47" fmla="*/ 61 h 69"/>
                  <a:gd name="T48" fmla="*/ 49 w 68"/>
                  <a:gd name="T49" fmla="*/ 65 h 69"/>
                  <a:gd name="T50" fmla="*/ 39 w 68"/>
                  <a:gd name="T51" fmla="*/ 68 h 69"/>
                  <a:gd name="T52" fmla="*/ 33 w 68"/>
                  <a:gd name="T53" fmla="*/ 68 h 69"/>
                  <a:gd name="T54" fmla="*/ 36 w 68"/>
                  <a:gd name="T55" fmla="*/ 65 h 69"/>
                  <a:gd name="T56" fmla="*/ 42 w 68"/>
                  <a:gd name="T57" fmla="*/ 64 h 69"/>
                  <a:gd name="T58" fmla="*/ 52 w 68"/>
                  <a:gd name="T59" fmla="*/ 60 h 69"/>
                  <a:gd name="T60" fmla="*/ 60 w 68"/>
                  <a:gd name="T61" fmla="*/ 52 h 69"/>
                  <a:gd name="T62" fmla="*/ 64 w 68"/>
                  <a:gd name="T63" fmla="*/ 43 h 69"/>
                  <a:gd name="T64" fmla="*/ 65 w 68"/>
                  <a:gd name="T65" fmla="*/ 36 h 69"/>
                  <a:gd name="T66" fmla="*/ 65 w 68"/>
                  <a:gd name="T67" fmla="*/ 30 h 69"/>
                  <a:gd name="T68" fmla="*/ 61 w 68"/>
                  <a:gd name="T69" fmla="*/ 19 h 69"/>
                  <a:gd name="T70" fmla="*/ 56 w 68"/>
                  <a:gd name="T71" fmla="*/ 13 h 69"/>
                  <a:gd name="T72" fmla="*/ 50 w 68"/>
                  <a:gd name="T73" fmla="*/ 9 h 69"/>
                  <a:gd name="T74" fmla="*/ 42 w 68"/>
                  <a:gd name="T75" fmla="*/ 6 h 69"/>
                  <a:gd name="T76" fmla="*/ 39 w 68"/>
                  <a:gd name="T77" fmla="*/ 4 h 69"/>
                  <a:gd name="T78" fmla="*/ 38 w 68"/>
                  <a:gd name="T79" fmla="*/ 3 h 69"/>
                  <a:gd name="T80" fmla="*/ 30 w 68"/>
                  <a:gd name="T81" fmla="*/ 3 h 69"/>
                  <a:gd name="T82" fmla="*/ 22 w 68"/>
                  <a:gd name="T83" fmla="*/ 4 h 69"/>
                  <a:gd name="T84" fmla="*/ 14 w 68"/>
                  <a:gd name="T85" fmla="*/ 8 h 69"/>
                  <a:gd name="T86" fmla="*/ 9 w 68"/>
                  <a:gd name="T87" fmla="*/ 13 h 69"/>
                  <a:gd name="T88" fmla="*/ 4 w 68"/>
                  <a:gd name="T89" fmla="*/ 21 h 69"/>
                  <a:gd name="T90" fmla="*/ 2 w 68"/>
                  <a:gd name="T91" fmla="*/ 28 h 69"/>
                  <a:gd name="T92" fmla="*/ 2 w 68"/>
                  <a:gd name="T93" fmla="*/ 32 h 69"/>
                  <a:gd name="T94" fmla="*/ 2 w 68"/>
                  <a:gd name="T95" fmla="*/ 38 h 69"/>
                  <a:gd name="T96" fmla="*/ 3 w 68"/>
                  <a:gd name="T97" fmla="*/ 40 h 69"/>
                  <a:gd name="T98" fmla="*/ 6 w 68"/>
                  <a:gd name="T99" fmla="*/ 48 h 69"/>
                  <a:gd name="T100" fmla="*/ 11 w 68"/>
                  <a:gd name="T101" fmla="*/ 55 h 69"/>
                  <a:gd name="T102" fmla="*/ 13 w 68"/>
                  <a:gd name="T103" fmla="*/ 57 h 69"/>
                  <a:gd name="T104" fmla="*/ 16 w 68"/>
                  <a:gd name="T105" fmla="*/ 59 h 69"/>
                  <a:gd name="T106" fmla="*/ 17 w 68"/>
                  <a:gd name="T107" fmla="*/ 60 h 69"/>
                  <a:gd name="T108" fmla="*/ 25 w 68"/>
                  <a:gd name="T109" fmla="*/ 63 h 69"/>
                  <a:gd name="T110" fmla="*/ 30 w 68"/>
                  <a:gd name="T111" fmla="*/ 64 h 69"/>
                  <a:gd name="T112" fmla="*/ 36 w 68"/>
                  <a:gd name="T113" fmla="*/ 6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8" h="69">
                    <a:moveTo>
                      <a:pt x="33" y="68"/>
                    </a:moveTo>
                    <a:cubicBezTo>
                      <a:pt x="32" y="68"/>
                      <a:pt x="31" y="69"/>
                      <a:pt x="29" y="68"/>
                    </a:cubicBezTo>
                    <a:cubicBezTo>
                      <a:pt x="28" y="68"/>
                      <a:pt x="26" y="68"/>
                      <a:pt x="25" y="67"/>
                    </a:cubicBezTo>
                    <a:cubicBezTo>
                      <a:pt x="24" y="67"/>
                      <a:pt x="23" y="67"/>
                      <a:pt x="22" y="66"/>
                    </a:cubicBezTo>
                    <a:cubicBezTo>
                      <a:pt x="21" y="66"/>
                      <a:pt x="20" y="65"/>
                      <a:pt x="19" y="65"/>
                    </a:cubicBezTo>
                    <a:cubicBezTo>
                      <a:pt x="17" y="64"/>
                      <a:pt x="15" y="63"/>
                      <a:pt x="14" y="62"/>
                    </a:cubicBezTo>
                    <a:cubicBezTo>
                      <a:pt x="13" y="62"/>
                      <a:pt x="13" y="61"/>
                      <a:pt x="12" y="61"/>
                    </a:cubicBezTo>
                    <a:cubicBezTo>
                      <a:pt x="11" y="60"/>
                      <a:pt x="10" y="59"/>
                      <a:pt x="9" y="58"/>
                    </a:cubicBezTo>
                    <a:cubicBezTo>
                      <a:pt x="8" y="56"/>
                      <a:pt x="7" y="55"/>
                      <a:pt x="6" y="54"/>
                    </a:cubicBezTo>
                    <a:cubicBezTo>
                      <a:pt x="5" y="53"/>
                      <a:pt x="4" y="51"/>
                      <a:pt x="3" y="50"/>
                    </a:cubicBezTo>
                    <a:cubicBezTo>
                      <a:pt x="3" y="48"/>
                      <a:pt x="2" y="47"/>
                      <a:pt x="2" y="46"/>
                    </a:cubicBezTo>
                    <a:cubicBezTo>
                      <a:pt x="1" y="44"/>
                      <a:pt x="1" y="43"/>
                      <a:pt x="1" y="41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36"/>
                      <a:pt x="0" y="34"/>
                      <a:pt x="0" y="32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1" y="24"/>
                      <a:pt x="2" y="22"/>
                      <a:pt x="2" y="20"/>
                    </a:cubicBezTo>
                    <a:cubicBezTo>
                      <a:pt x="3" y="19"/>
                      <a:pt x="3" y="18"/>
                      <a:pt x="4" y="17"/>
                    </a:cubicBezTo>
                    <a:cubicBezTo>
                      <a:pt x="5" y="16"/>
                      <a:pt x="5" y="14"/>
                      <a:pt x="6" y="13"/>
                    </a:cubicBezTo>
                    <a:cubicBezTo>
                      <a:pt x="7" y="12"/>
                      <a:pt x="8" y="11"/>
                      <a:pt x="9" y="10"/>
                    </a:cubicBezTo>
                    <a:cubicBezTo>
                      <a:pt x="10" y="8"/>
                      <a:pt x="11" y="7"/>
                      <a:pt x="13" y="6"/>
                    </a:cubicBezTo>
                    <a:cubicBezTo>
                      <a:pt x="14" y="5"/>
                      <a:pt x="15" y="4"/>
                      <a:pt x="17" y="3"/>
                    </a:cubicBezTo>
                    <a:cubicBezTo>
                      <a:pt x="19" y="2"/>
                      <a:pt x="22" y="1"/>
                      <a:pt x="24" y="1"/>
                    </a:cubicBezTo>
                    <a:cubicBezTo>
                      <a:pt x="26" y="0"/>
                      <a:pt x="27" y="0"/>
                      <a:pt x="28" y="0"/>
                    </a:cubicBezTo>
                    <a:cubicBezTo>
                      <a:pt x="29" y="0"/>
                      <a:pt x="30" y="0"/>
                      <a:pt x="31" y="0"/>
                    </a:cubicBezTo>
                    <a:cubicBezTo>
                      <a:pt x="31" y="0"/>
                      <a:pt x="32" y="0"/>
                      <a:pt x="32" y="0"/>
                    </a:cubicBezTo>
                    <a:cubicBezTo>
                      <a:pt x="33" y="0"/>
                      <a:pt x="34" y="0"/>
                      <a:pt x="34" y="0"/>
                    </a:cubicBezTo>
                    <a:cubicBezTo>
                      <a:pt x="36" y="0"/>
                      <a:pt x="37" y="0"/>
                      <a:pt x="38" y="0"/>
                    </a:cubicBezTo>
                    <a:cubicBezTo>
                      <a:pt x="40" y="0"/>
                      <a:pt x="41" y="1"/>
                      <a:pt x="43" y="2"/>
                    </a:cubicBezTo>
                    <a:cubicBezTo>
                      <a:pt x="44" y="2"/>
                      <a:pt x="45" y="3"/>
                      <a:pt x="46" y="3"/>
                    </a:cubicBezTo>
                    <a:cubicBezTo>
                      <a:pt x="47" y="3"/>
                      <a:pt x="48" y="3"/>
                      <a:pt x="48" y="4"/>
                    </a:cubicBezTo>
                    <a:cubicBezTo>
                      <a:pt x="50" y="5"/>
                      <a:pt x="52" y="6"/>
                      <a:pt x="53" y="7"/>
                    </a:cubicBezTo>
                    <a:cubicBezTo>
                      <a:pt x="54" y="7"/>
                      <a:pt x="54" y="7"/>
                      <a:pt x="54" y="7"/>
                    </a:cubicBezTo>
                    <a:cubicBezTo>
                      <a:pt x="55" y="8"/>
                      <a:pt x="56" y="9"/>
                      <a:pt x="57" y="10"/>
                    </a:cubicBezTo>
                    <a:cubicBezTo>
                      <a:pt x="58" y="10"/>
                      <a:pt x="58" y="11"/>
                      <a:pt x="59" y="12"/>
                    </a:cubicBezTo>
                    <a:cubicBezTo>
                      <a:pt x="60" y="13"/>
                      <a:pt x="61" y="14"/>
                      <a:pt x="61" y="14"/>
                    </a:cubicBezTo>
                    <a:cubicBezTo>
                      <a:pt x="62" y="15"/>
                      <a:pt x="62" y="16"/>
                      <a:pt x="63" y="17"/>
                    </a:cubicBezTo>
                    <a:cubicBezTo>
                      <a:pt x="64" y="19"/>
                      <a:pt x="65" y="21"/>
                      <a:pt x="66" y="23"/>
                    </a:cubicBezTo>
                    <a:cubicBezTo>
                      <a:pt x="66" y="24"/>
                      <a:pt x="67" y="25"/>
                      <a:pt x="67" y="27"/>
                    </a:cubicBezTo>
                    <a:cubicBezTo>
                      <a:pt x="67" y="28"/>
                      <a:pt x="67" y="29"/>
                      <a:pt x="67" y="30"/>
                    </a:cubicBezTo>
                    <a:cubicBezTo>
                      <a:pt x="67" y="30"/>
                      <a:pt x="67" y="30"/>
                      <a:pt x="67" y="30"/>
                    </a:cubicBezTo>
                    <a:cubicBezTo>
                      <a:pt x="67" y="32"/>
                      <a:pt x="68" y="33"/>
                      <a:pt x="67" y="35"/>
                    </a:cubicBezTo>
                    <a:cubicBezTo>
                      <a:pt x="67" y="36"/>
                      <a:pt x="67" y="37"/>
                      <a:pt x="67" y="39"/>
                    </a:cubicBezTo>
                    <a:cubicBezTo>
                      <a:pt x="67" y="39"/>
                      <a:pt x="67" y="40"/>
                      <a:pt x="67" y="41"/>
                    </a:cubicBezTo>
                    <a:cubicBezTo>
                      <a:pt x="66" y="42"/>
                      <a:pt x="66" y="43"/>
                      <a:pt x="66" y="44"/>
                    </a:cubicBezTo>
                    <a:cubicBezTo>
                      <a:pt x="65" y="46"/>
                      <a:pt x="65" y="47"/>
                      <a:pt x="64" y="49"/>
                    </a:cubicBezTo>
                    <a:cubicBezTo>
                      <a:pt x="64" y="50"/>
                      <a:pt x="63" y="51"/>
                      <a:pt x="62" y="53"/>
                    </a:cubicBezTo>
                    <a:cubicBezTo>
                      <a:pt x="62" y="54"/>
                      <a:pt x="61" y="56"/>
                      <a:pt x="60" y="57"/>
                    </a:cubicBezTo>
                    <a:cubicBezTo>
                      <a:pt x="58" y="58"/>
                      <a:pt x="57" y="60"/>
                      <a:pt x="56" y="61"/>
                    </a:cubicBezTo>
                    <a:cubicBezTo>
                      <a:pt x="54" y="62"/>
                      <a:pt x="53" y="63"/>
                      <a:pt x="52" y="64"/>
                    </a:cubicBezTo>
                    <a:cubicBezTo>
                      <a:pt x="51" y="64"/>
                      <a:pt x="50" y="65"/>
                      <a:pt x="49" y="65"/>
                    </a:cubicBezTo>
                    <a:cubicBezTo>
                      <a:pt x="47" y="66"/>
                      <a:pt x="46" y="67"/>
                      <a:pt x="44" y="67"/>
                    </a:cubicBezTo>
                    <a:cubicBezTo>
                      <a:pt x="42" y="68"/>
                      <a:pt x="41" y="68"/>
                      <a:pt x="39" y="68"/>
                    </a:cubicBezTo>
                    <a:cubicBezTo>
                      <a:pt x="37" y="68"/>
                      <a:pt x="35" y="69"/>
                      <a:pt x="33" y="69"/>
                    </a:cubicBezTo>
                    <a:cubicBezTo>
                      <a:pt x="33" y="69"/>
                      <a:pt x="33" y="68"/>
                      <a:pt x="33" y="68"/>
                    </a:cubicBezTo>
                    <a:close/>
                    <a:moveTo>
                      <a:pt x="36" y="65"/>
                    </a:move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5"/>
                      <a:pt x="37" y="64"/>
                      <a:pt x="37" y="64"/>
                    </a:cubicBezTo>
                    <a:cubicBezTo>
                      <a:pt x="39" y="64"/>
                      <a:pt x="41" y="64"/>
                      <a:pt x="42" y="64"/>
                    </a:cubicBezTo>
                    <a:cubicBezTo>
                      <a:pt x="44" y="63"/>
                      <a:pt x="46" y="62"/>
                      <a:pt x="49" y="61"/>
                    </a:cubicBezTo>
                    <a:cubicBezTo>
                      <a:pt x="50" y="61"/>
                      <a:pt x="51" y="60"/>
                      <a:pt x="52" y="60"/>
                    </a:cubicBezTo>
                    <a:cubicBezTo>
                      <a:pt x="53" y="59"/>
                      <a:pt x="55" y="58"/>
                      <a:pt x="56" y="57"/>
                    </a:cubicBezTo>
                    <a:cubicBezTo>
                      <a:pt x="57" y="56"/>
                      <a:pt x="59" y="54"/>
                      <a:pt x="60" y="52"/>
                    </a:cubicBezTo>
                    <a:cubicBezTo>
                      <a:pt x="61" y="51"/>
                      <a:pt x="62" y="49"/>
                      <a:pt x="62" y="48"/>
                    </a:cubicBezTo>
                    <a:cubicBezTo>
                      <a:pt x="63" y="46"/>
                      <a:pt x="64" y="44"/>
                      <a:pt x="64" y="43"/>
                    </a:cubicBezTo>
                    <a:cubicBezTo>
                      <a:pt x="65" y="41"/>
                      <a:pt x="65" y="40"/>
                      <a:pt x="65" y="38"/>
                    </a:cubicBezTo>
                    <a:cubicBezTo>
                      <a:pt x="65" y="38"/>
                      <a:pt x="65" y="37"/>
                      <a:pt x="65" y="36"/>
                    </a:cubicBezTo>
                    <a:cubicBezTo>
                      <a:pt x="65" y="35"/>
                      <a:pt x="65" y="34"/>
                      <a:pt x="65" y="33"/>
                    </a:cubicBezTo>
                    <a:cubicBezTo>
                      <a:pt x="65" y="32"/>
                      <a:pt x="65" y="31"/>
                      <a:pt x="65" y="30"/>
                    </a:cubicBezTo>
                    <a:cubicBezTo>
                      <a:pt x="64" y="28"/>
                      <a:pt x="64" y="25"/>
                      <a:pt x="63" y="24"/>
                    </a:cubicBezTo>
                    <a:cubicBezTo>
                      <a:pt x="62" y="22"/>
                      <a:pt x="62" y="21"/>
                      <a:pt x="61" y="19"/>
                    </a:cubicBezTo>
                    <a:cubicBezTo>
                      <a:pt x="60" y="18"/>
                      <a:pt x="59" y="16"/>
                      <a:pt x="58" y="15"/>
                    </a:cubicBezTo>
                    <a:cubicBezTo>
                      <a:pt x="57" y="14"/>
                      <a:pt x="57" y="14"/>
                      <a:pt x="56" y="13"/>
                    </a:cubicBezTo>
                    <a:cubicBezTo>
                      <a:pt x="55" y="13"/>
                      <a:pt x="54" y="12"/>
                      <a:pt x="54" y="11"/>
                    </a:cubicBezTo>
                    <a:cubicBezTo>
                      <a:pt x="52" y="10"/>
                      <a:pt x="51" y="10"/>
                      <a:pt x="50" y="9"/>
                    </a:cubicBezTo>
                    <a:cubicBezTo>
                      <a:pt x="49" y="8"/>
                      <a:pt x="47" y="7"/>
                      <a:pt x="46" y="7"/>
                    </a:cubicBezTo>
                    <a:cubicBezTo>
                      <a:pt x="45" y="6"/>
                      <a:pt x="43" y="6"/>
                      <a:pt x="42" y="6"/>
                    </a:cubicBezTo>
                    <a:cubicBezTo>
                      <a:pt x="41" y="6"/>
                      <a:pt x="40" y="6"/>
                      <a:pt x="40" y="5"/>
                    </a:cubicBezTo>
                    <a:cubicBezTo>
                      <a:pt x="39" y="5"/>
                      <a:pt x="39" y="5"/>
                      <a:pt x="39" y="4"/>
                    </a:cubicBezTo>
                    <a:cubicBezTo>
                      <a:pt x="39" y="4"/>
                      <a:pt x="39" y="4"/>
                      <a:pt x="38" y="4"/>
                    </a:cubicBezTo>
                    <a:cubicBezTo>
                      <a:pt x="38" y="4"/>
                      <a:pt x="38" y="4"/>
                      <a:pt x="38" y="3"/>
                    </a:cubicBezTo>
                    <a:cubicBezTo>
                      <a:pt x="36" y="3"/>
                      <a:pt x="35" y="3"/>
                      <a:pt x="33" y="3"/>
                    </a:cubicBezTo>
                    <a:cubicBezTo>
                      <a:pt x="32" y="3"/>
                      <a:pt x="31" y="3"/>
                      <a:pt x="30" y="3"/>
                    </a:cubicBezTo>
                    <a:cubicBezTo>
                      <a:pt x="29" y="3"/>
                      <a:pt x="29" y="3"/>
                      <a:pt x="28" y="3"/>
                    </a:cubicBezTo>
                    <a:cubicBezTo>
                      <a:pt x="26" y="3"/>
                      <a:pt x="24" y="4"/>
                      <a:pt x="22" y="4"/>
                    </a:cubicBezTo>
                    <a:cubicBezTo>
                      <a:pt x="21" y="5"/>
                      <a:pt x="19" y="5"/>
                      <a:pt x="18" y="6"/>
                    </a:cubicBezTo>
                    <a:cubicBezTo>
                      <a:pt x="17" y="7"/>
                      <a:pt x="15" y="7"/>
                      <a:pt x="14" y="8"/>
                    </a:cubicBezTo>
                    <a:cubicBezTo>
                      <a:pt x="13" y="9"/>
                      <a:pt x="12" y="10"/>
                      <a:pt x="11" y="11"/>
                    </a:cubicBezTo>
                    <a:cubicBezTo>
                      <a:pt x="10" y="12"/>
                      <a:pt x="10" y="12"/>
                      <a:pt x="9" y="13"/>
                    </a:cubicBezTo>
                    <a:cubicBezTo>
                      <a:pt x="8" y="14"/>
                      <a:pt x="7" y="15"/>
                      <a:pt x="7" y="16"/>
                    </a:cubicBezTo>
                    <a:cubicBezTo>
                      <a:pt x="6" y="18"/>
                      <a:pt x="5" y="19"/>
                      <a:pt x="4" y="21"/>
                    </a:cubicBezTo>
                    <a:cubicBezTo>
                      <a:pt x="4" y="22"/>
                      <a:pt x="3" y="24"/>
                      <a:pt x="3" y="25"/>
                    </a:cubicBezTo>
                    <a:cubicBezTo>
                      <a:pt x="3" y="26"/>
                      <a:pt x="3" y="27"/>
                      <a:pt x="2" y="28"/>
                    </a:cubicBezTo>
                    <a:cubicBezTo>
                      <a:pt x="2" y="28"/>
                      <a:pt x="2" y="29"/>
                      <a:pt x="2" y="30"/>
                    </a:cubicBezTo>
                    <a:cubicBezTo>
                      <a:pt x="2" y="31"/>
                      <a:pt x="2" y="31"/>
                      <a:pt x="2" y="32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2" y="35"/>
                      <a:pt x="2" y="36"/>
                      <a:pt x="2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9"/>
                      <a:pt x="3" y="40"/>
                      <a:pt x="3" y="40"/>
                    </a:cubicBezTo>
                    <a:cubicBezTo>
                      <a:pt x="3" y="42"/>
                      <a:pt x="4" y="43"/>
                      <a:pt x="4" y="44"/>
                    </a:cubicBezTo>
                    <a:cubicBezTo>
                      <a:pt x="5" y="46"/>
                      <a:pt x="5" y="47"/>
                      <a:pt x="6" y="48"/>
                    </a:cubicBezTo>
                    <a:cubicBezTo>
                      <a:pt x="6" y="49"/>
                      <a:pt x="7" y="50"/>
                      <a:pt x="8" y="51"/>
                    </a:cubicBezTo>
                    <a:cubicBezTo>
                      <a:pt x="9" y="52"/>
                      <a:pt x="10" y="54"/>
                      <a:pt x="11" y="55"/>
                    </a:cubicBezTo>
                    <a:cubicBezTo>
                      <a:pt x="11" y="55"/>
                      <a:pt x="11" y="55"/>
                      <a:pt x="12" y="56"/>
                    </a:cubicBezTo>
                    <a:cubicBezTo>
                      <a:pt x="12" y="56"/>
                      <a:pt x="13" y="56"/>
                      <a:pt x="13" y="57"/>
                    </a:cubicBezTo>
                    <a:cubicBezTo>
                      <a:pt x="13" y="57"/>
                      <a:pt x="13" y="57"/>
                      <a:pt x="14" y="57"/>
                    </a:cubicBezTo>
                    <a:cubicBezTo>
                      <a:pt x="14" y="58"/>
                      <a:pt x="15" y="59"/>
                      <a:pt x="16" y="59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18" y="60"/>
                      <a:pt x="20" y="61"/>
                      <a:pt x="21" y="62"/>
                    </a:cubicBezTo>
                    <a:cubicBezTo>
                      <a:pt x="23" y="62"/>
                      <a:pt x="23" y="63"/>
                      <a:pt x="25" y="63"/>
                    </a:cubicBezTo>
                    <a:cubicBezTo>
                      <a:pt x="26" y="63"/>
                      <a:pt x="27" y="64"/>
                      <a:pt x="28" y="64"/>
                    </a:cubicBezTo>
                    <a:cubicBezTo>
                      <a:pt x="28" y="64"/>
                      <a:pt x="29" y="64"/>
                      <a:pt x="30" y="64"/>
                    </a:cubicBezTo>
                    <a:cubicBezTo>
                      <a:pt x="31" y="64"/>
                      <a:pt x="31" y="65"/>
                      <a:pt x="32" y="65"/>
                    </a:cubicBezTo>
                    <a:cubicBezTo>
                      <a:pt x="34" y="65"/>
                      <a:pt x="35" y="65"/>
                      <a:pt x="36" y="65"/>
                    </a:cubicBezTo>
                    <a:close/>
                  </a:path>
                </a:pathLst>
              </a:custGeom>
              <a:solidFill>
                <a:srgbClr val="52D0FF"/>
              </a:solidFill>
              <a:ln>
                <a:solidFill>
                  <a:srgbClr val="52D0FF"/>
                </a:solidFill>
              </a:ln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90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94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viar Dreams" panose="020B0402020204020504"/>
                  <a:ea typeface="+mn-ea"/>
                  <a:cs typeface="+mn-cs"/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>
                <a:off x="4367791" y="5503218"/>
                <a:ext cx="514512" cy="607725"/>
                <a:chOff x="1323342" y="5004554"/>
                <a:chExt cx="753296" cy="808882"/>
              </a:xfrm>
            </p:grpSpPr>
            <p:sp>
              <p:nvSpPr>
                <p:cNvPr id="137" name="Freeform 136"/>
                <p:cNvSpPr>
                  <a:spLocks/>
                </p:cNvSpPr>
                <p:nvPr/>
              </p:nvSpPr>
              <p:spPr bwMode="auto">
                <a:xfrm>
                  <a:off x="1323342" y="5330354"/>
                  <a:ext cx="289896" cy="156046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137"/>
                <p:cNvSpPr>
                  <a:spLocks/>
                </p:cNvSpPr>
                <p:nvPr/>
              </p:nvSpPr>
              <p:spPr bwMode="auto">
                <a:xfrm>
                  <a:off x="1786742" y="5335734"/>
                  <a:ext cx="289896" cy="156047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Freeform 138"/>
                <p:cNvSpPr>
                  <a:spLocks/>
                </p:cNvSpPr>
                <p:nvPr/>
              </p:nvSpPr>
              <p:spPr bwMode="auto">
                <a:xfrm>
                  <a:off x="1323342" y="5004554"/>
                  <a:ext cx="289896" cy="156046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40" name="Picture 139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382832" y="5236003"/>
                  <a:ext cx="168251" cy="15214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141" name="Freeform 140"/>
                <p:cNvSpPr>
                  <a:spLocks/>
                </p:cNvSpPr>
                <p:nvPr/>
              </p:nvSpPr>
              <p:spPr bwMode="auto">
                <a:xfrm>
                  <a:off x="1325702" y="5657390"/>
                  <a:ext cx="289896" cy="156046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42" name="Picture 141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385192" y="5563039"/>
                  <a:ext cx="168251" cy="15214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43" name="Picture 142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10740000">
                  <a:off x="1609463" y="5391401"/>
                  <a:ext cx="168251" cy="15214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grpSp>
            <p:nvGrpSpPr>
              <p:cNvPr id="144" name="Group 143"/>
              <p:cNvGrpSpPr/>
              <p:nvPr/>
            </p:nvGrpSpPr>
            <p:grpSpPr>
              <a:xfrm>
                <a:off x="3768674" y="4894555"/>
                <a:ext cx="991249" cy="364935"/>
                <a:chOff x="1075767" y="5645677"/>
                <a:chExt cx="1090374" cy="401428"/>
              </a:xfrm>
            </p:grpSpPr>
            <p:sp>
              <p:nvSpPr>
                <p:cNvPr id="145" name="Freeform 144"/>
                <p:cNvSpPr>
                  <a:spLocks/>
                </p:cNvSpPr>
                <p:nvPr/>
              </p:nvSpPr>
              <p:spPr bwMode="auto">
                <a:xfrm>
                  <a:off x="1164608" y="5913196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 145"/>
                <p:cNvSpPr>
                  <a:spLocks/>
                </p:cNvSpPr>
                <p:nvPr/>
              </p:nvSpPr>
              <p:spPr bwMode="auto">
                <a:xfrm>
                  <a:off x="1075767" y="5677168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47" name="Picture 146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194941" y="5867272"/>
                  <a:ext cx="113721" cy="9349"/>
                </a:xfrm>
                <a:prstGeom prst="rect">
                  <a:avLst/>
                </a:prstGeom>
                <a:ln>
                  <a:noFill/>
                </a:ln>
              </p:spPr>
            </p:pic>
            <p:sp>
              <p:nvSpPr>
                <p:cNvPr id="148" name="Freeform 147"/>
                <p:cNvSpPr>
                  <a:spLocks/>
                </p:cNvSpPr>
                <p:nvPr/>
              </p:nvSpPr>
              <p:spPr bwMode="auto">
                <a:xfrm>
                  <a:off x="1597263" y="5918141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148"/>
                <p:cNvSpPr>
                  <a:spLocks/>
                </p:cNvSpPr>
                <p:nvPr/>
              </p:nvSpPr>
              <p:spPr bwMode="auto">
                <a:xfrm>
                  <a:off x="1597263" y="5645677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50" name="Picture 149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635638" y="5837529"/>
                  <a:ext cx="139050" cy="11431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151" name="Picture 150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10740000">
                  <a:off x="1389225" y="5974804"/>
                  <a:ext cx="203584" cy="16739"/>
                </a:xfrm>
                <a:prstGeom prst="rect">
                  <a:avLst/>
                </a:prstGeom>
                <a:ln>
                  <a:noFill/>
                </a:ln>
              </p:spPr>
            </p:pic>
            <p:sp>
              <p:nvSpPr>
                <p:cNvPr id="152" name="Freeform 151"/>
                <p:cNvSpPr>
                  <a:spLocks/>
                </p:cNvSpPr>
                <p:nvPr/>
              </p:nvSpPr>
              <p:spPr bwMode="auto">
                <a:xfrm>
                  <a:off x="1948338" y="5917502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53" name="Picture 152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10740000">
                  <a:off x="1810903" y="5980027"/>
                  <a:ext cx="139050" cy="11431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154" name="Group 153"/>
              <p:cNvGrpSpPr/>
              <p:nvPr/>
            </p:nvGrpSpPr>
            <p:grpSpPr>
              <a:xfrm>
                <a:off x="3407565" y="5409163"/>
                <a:ext cx="833671" cy="364935"/>
                <a:chOff x="1249103" y="5645677"/>
                <a:chExt cx="917038" cy="401428"/>
              </a:xfrm>
            </p:grpSpPr>
            <p:sp>
              <p:nvSpPr>
                <p:cNvPr id="155" name="Freeform 154"/>
                <p:cNvSpPr>
                  <a:spLocks/>
                </p:cNvSpPr>
                <p:nvPr/>
              </p:nvSpPr>
              <p:spPr bwMode="auto">
                <a:xfrm>
                  <a:off x="1249103" y="5915611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155"/>
                <p:cNvSpPr>
                  <a:spLocks/>
                </p:cNvSpPr>
                <p:nvPr/>
              </p:nvSpPr>
              <p:spPr bwMode="auto">
                <a:xfrm>
                  <a:off x="1249103" y="5646355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57" name="Picture 156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287478" y="5838207"/>
                  <a:ext cx="139050" cy="11431"/>
                </a:xfrm>
                <a:prstGeom prst="rect">
                  <a:avLst/>
                </a:prstGeom>
                <a:ln>
                  <a:noFill/>
                </a:ln>
              </p:spPr>
            </p:pic>
            <p:sp>
              <p:nvSpPr>
                <p:cNvPr id="158" name="Freeform 157"/>
                <p:cNvSpPr>
                  <a:spLocks/>
                </p:cNvSpPr>
                <p:nvPr/>
              </p:nvSpPr>
              <p:spPr bwMode="auto">
                <a:xfrm>
                  <a:off x="1597263" y="5918141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 158"/>
                <p:cNvSpPr>
                  <a:spLocks/>
                </p:cNvSpPr>
                <p:nvPr/>
              </p:nvSpPr>
              <p:spPr bwMode="auto">
                <a:xfrm>
                  <a:off x="1597263" y="5645677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60" name="Picture 159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5340000">
                  <a:off x="1635638" y="5837529"/>
                  <a:ext cx="139050" cy="11431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161" name="Picture 160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10740000">
                  <a:off x="1459828" y="5977458"/>
                  <a:ext cx="139050" cy="11431"/>
                </a:xfrm>
                <a:prstGeom prst="rect">
                  <a:avLst/>
                </a:prstGeom>
                <a:ln>
                  <a:noFill/>
                </a:ln>
              </p:spPr>
            </p:pic>
            <p:sp>
              <p:nvSpPr>
                <p:cNvPr id="162" name="Freeform 161"/>
                <p:cNvSpPr>
                  <a:spLocks/>
                </p:cNvSpPr>
                <p:nvPr/>
              </p:nvSpPr>
              <p:spPr bwMode="auto">
                <a:xfrm>
                  <a:off x="1948338" y="5917502"/>
                  <a:ext cx="217803" cy="128964"/>
                </a:xfrm>
                <a:custGeom>
                  <a:avLst/>
                  <a:gdLst>
                    <a:gd name="T0" fmla="*/ 371 w 379"/>
                    <a:gd name="T1" fmla="*/ 382 h 943"/>
                    <a:gd name="T2" fmla="*/ 372 w 379"/>
                    <a:gd name="T3" fmla="*/ 446 h 943"/>
                    <a:gd name="T4" fmla="*/ 372 w 379"/>
                    <a:gd name="T5" fmla="*/ 605 h 943"/>
                    <a:gd name="T6" fmla="*/ 372 w 379"/>
                    <a:gd name="T7" fmla="*/ 612 h 943"/>
                    <a:gd name="T8" fmla="*/ 373 w 379"/>
                    <a:gd name="T9" fmla="*/ 656 h 943"/>
                    <a:gd name="T10" fmla="*/ 373 w 379"/>
                    <a:gd name="T11" fmla="*/ 790 h 943"/>
                    <a:gd name="T12" fmla="*/ 374 w 379"/>
                    <a:gd name="T13" fmla="*/ 905 h 943"/>
                    <a:gd name="T14" fmla="*/ 375 w 379"/>
                    <a:gd name="T15" fmla="*/ 873 h 943"/>
                    <a:gd name="T16" fmla="*/ 375 w 379"/>
                    <a:gd name="T17" fmla="*/ 862 h 943"/>
                    <a:gd name="T18" fmla="*/ 375 w 379"/>
                    <a:gd name="T19" fmla="*/ 786 h 943"/>
                    <a:gd name="T20" fmla="*/ 374 w 379"/>
                    <a:gd name="T21" fmla="*/ 591 h 943"/>
                    <a:gd name="T22" fmla="*/ 374 w 379"/>
                    <a:gd name="T23" fmla="*/ 493 h 943"/>
                    <a:gd name="T24" fmla="*/ 373 w 379"/>
                    <a:gd name="T25" fmla="*/ 441 h 943"/>
                    <a:gd name="T26" fmla="*/ 374 w 379"/>
                    <a:gd name="T27" fmla="*/ 2 h 943"/>
                    <a:gd name="T28" fmla="*/ 372 w 379"/>
                    <a:gd name="T29" fmla="*/ 0 h 943"/>
                    <a:gd name="T30" fmla="*/ 305 w 379"/>
                    <a:gd name="T31" fmla="*/ 1 h 943"/>
                    <a:gd name="T32" fmla="*/ 231 w 379"/>
                    <a:gd name="T33" fmla="*/ 1 h 943"/>
                    <a:gd name="T34" fmla="*/ 2 w 379"/>
                    <a:gd name="T35" fmla="*/ 2 h 943"/>
                    <a:gd name="T36" fmla="*/ 2 w 379"/>
                    <a:gd name="T37" fmla="*/ 2 h 943"/>
                    <a:gd name="T38" fmla="*/ 2 w 379"/>
                    <a:gd name="T39" fmla="*/ 187 h 943"/>
                    <a:gd name="T40" fmla="*/ 2 w 379"/>
                    <a:gd name="T41" fmla="*/ 557 h 943"/>
                    <a:gd name="T42" fmla="*/ 3 w 379"/>
                    <a:gd name="T43" fmla="*/ 905 h 943"/>
                    <a:gd name="T44" fmla="*/ 2 w 379"/>
                    <a:gd name="T45" fmla="*/ 941 h 943"/>
                    <a:gd name="T46" fmla="*/ 272 w 379"/>
                    <a:gd name="T47" fmla="*/ 942 h 943"/>
                    <a:gd name="T48" fmla="*/ 307 w 379"/>
                    <a:gd name="T49" fmla="*/ 941 h 943"/>
                    <a:gd name="T50" fmla="*/ 325 w 379"/>
                    <a:gd name="T51" fmla="*/ 941 h 943"/>
                    <a:gd name="T52" fmla="*/ 334 w 379"/>
                    <a:gd name="T53" fmla="*/ 941 h 943"/>
                    <a:gd name="T54" fmla="*/ 360 w 379"/>
                    <a:gd name="T55" fmla="*/ 942 h 943"/>
                    <a:gd name="T56" fmla="*/ 372 w 379"/>
                    <a:gd name="T57" fmla="*/ 942 h 943"/>
                    <a:gd name="T58" fmla="*/ 369 w 379"/>
                    <a:gd name="T59" fmla="*/ 941 h 943"/>
                    <a:gd name="T60" fmla="*/ 346 w 379"/>
                    <a:gd name="T61" fmla="*/ 939 h 943"/>
                    <a:gd name="T62" fmla="*/ 329 w 379"/>
                    <a:gd name="T63" fmla="*/ 939 h 943"/>
                    <a:gd name="T64" fmla="*/ 318 w 379"/>
                    <a:gd name="T65" fmla="*/ 939 h 943"/>
                    <a:gd name="T66" fmla="*/ 233 w 379"/>
                    <a:gd name="T67" fmla="*/ 940 h 943"/>
                    <a:gd name="T68" fmla="*/ 204 w 379"/>
                    <a:gd name="T69" fmla="*/ 939 h 943"/>
                    <a:gd name="T70" fmla="*/ 146 w 379"/>
                    <a:gd name="T71" fmla="*/ 939 h 943"/>
                    <a:gd name="T72" fmla="*/ 80 w 379"/>
                    <a:gd name="T73" fmla="*/ 938 h 943"/>
                    <a:gd name="T74" fmla="*/ 2 w 379"/>
                    <a:gd name="T75" fmla="*/ 939 h 943"/>
                    <a:gd name="T76" fmla="*/ 4 w 379"/>
                    <a:gd name="T77" fmla="*/ 920 h 943"/>
                    <a:gd name="T78" fmla="*/ 4 w 379"/>
                    <a:gd name="T79" fmla="*/ 869 h 943"/>
                    <a:gd name="T80" fmla="*/ 4 w 379"/>
                    <a:gd name="T81" fmla="*/ 793 h 943"/>
                    <a:gd name="T82" fmla="*/ 5 w 379"/>
                    <a:gd name="T83" fmla="*/ 608 h 943"/>
                    <a:gd name="T84" fmla="*/ 3 w 379"/>
                    <a:gd name="T85" fmla="*/ 586 h 943"/>
                    <a:gd name="T86" fmla="*/ 4 w 379"/>
                    <a:gd name="T87" fmla="*/ 558 h 943"/>
                    <a:gd name="T88" fmla="*/ 4 w 379"/>
                    <a:gd name="T89" fmla="*/ 529 h 943"/>
                    <a:gd name="T90" fmla="*/ 4 w 379"/>
                    <a:gd name="T91" fmla="*/ 521 h 943"/>
                    <a:gd name="T92" fmla="*/ 3 w 379"/>
                    <a:gd name="T93" fmla="*/ 263 h 943"/>
                    <a:gd name="T94" fmla="*/ 3 w 379"/>
                    <a:gd name="T95" fmla="*/ 249 h 943"/>
                    <a:gd name="T96" fmla="*/ 3 w 379"/>
                    <a:gd name="T97" fmla="*/ 185 h 943"/>
                    <a:gd name="T98" fmla="*/ 3 w 379"/>
                    <a:gd name="T99" fmla="*/ 152 h 943"/>
                    <a:gd name="T100" fmla="*/ 4 w 379"/>
                    <a:gd name="T101" fmla="*/ 20 h 943"/>
                    <a:gd name="T102" fmla="*/ 2 w 379"/>
                    <a:gd name="T103" fmla="*/ 3 h 943"/>
                    <a:gd name="T104" fmla="*/ 100 w 379"/>
                    <a:gd name="T105" fmla="*/ 3 h 943"/>
                    <a:gd name="T106" fmla="*/ 310 w 379"/>
                    <a:gd name="T107" fmla="*/ 2 h 943"/>
                    <a:gd name="T108" fmla="*/ 372 w 379"/>
                    <a:gd name="T109" fmla="*/ 3 h 943"/>
                    <a:gd name="T110" fmla="*/ 372 w 379"/>
                    <a:gd name="T111" fmla="*/ 53 h 943"/>
                    <a:gd name="T112" fmla="*/ 372 w 379"/>
                    <a:gd name="T113" fmla="*/ 71 h 943"/>
                    <a:gd name="T114" fmla="*/ 372 w 379"/>
                    <a:gd name="T115" fmla="*/ 155 h 943"/>
                    <a:gd name="T116" fmla="*/ 372 w 379"/>
                    <a:gd name="T117" fmla="*/ 177 h 943"/>
                    <a:gd name="T118" fmla="*/ 372 w 379"/>
                    <a:gd name="T119" fmla="*/ 257 h 943"/>
                    <a:gd name="T120" fmla="*/ 372 w 379"/>
                    <a:gd name="T121" fmla="*/ 309 h 943"/>
                    <a:gd name="T122" fmla="*/ 372 w 379"/>
                    <a:gd name="T123" fmla="*/ 317 h 943"/>
                    <a:gd name="T124" fmla="*/ 372 w 379"/>
                    <a:gd name="T125" fmla="*/ 383 h 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9" h="943">
                      <a:moveTo>
                        <a:pt x="372" y="383"/>
                      </a:moveTo>
                      <a:cubicBezTo>
                        <a:pt x="371" y="382"/>
                        <a:pt x="371" y="382"/>
                        <a:pt x="371" y="382"/>
                      </a:cubicBezTo>
                      <a:cubicBezTo>
                        <a:pt x="372" y="403"/>
                        <a:pt x="371" y="426"/>
                        <a:pt x="372" y="448"/>
                      </a:cubicBezTo>
                      <a:cubicBezTo>
                        <a:pt x="372" y="446"/>
                        <a:pt x="372" y="446"/>
                        <a:pt x="372" y="446"/>
                      </a:cubicBezTo>
                      <a:cubicBezTo>
                        <a:pt x="371" y="501"/>
                        <a:pt x="372" y="552"/>
                        <a:pt x="372" y="607"/>
                      </a:cubicBezTo>
                      <a:cubicBezTo>
                        <a:pt x="372" y="606"/>
                        <a:pt x="372" y="606"/>
                        <a:pt x="372" y="605"/>
                      </a:cubicBezTo>
                      <a:cubicBezTo>
                        <a:pt x="372" y="608"/>
                        <a:pt x="373" y="611"/>
                        <a:pt x="373" y="614"/>
                      </a:cubicBezTo>
                      <a:cubicBezTo>
                        <a:pt x="373" y="614"/>
                        <a:pt x="372" y="613"/>
                        <a:pt x="372" y="612"/>
                      </a:cubicBezTo>
                      <a:cubicBezTo>
                        <a:pt x="372" y="623"/>
                        <a:pt x="373" y="646"/>
                        <a:pt x="372" y="653"/>
                      </a:cubicBezTo>
                      <a:cubicBezTo>
                        <a:pt x="372" y="656"/>
                        <a:pt x="373" y="658"/>
                        <a:pt x="373" y="656"/>
                      </a:cubicBezTo>
                      <a:cubicBezTo>
                        <a:pt x="373" y="699"/>
                        <a:pt x="373" y="745"/>
                        <a:pt x="374" y="788"/>
                      </a:cubicBezTo>
                      <a:cubicBezTo>
                        <a:pt x="374" y="790"/>
                        <a:pt x="374" y="791"/>
                        <a:pt x="373" y="790"/>
                      </a:cubicBezTo>
                      <a:cubicBezTo>
                        <a:pt x="374" y="828"/>
                        <a:pt x="374" y="867"/>
                        <a:pt x="374" y="905"/>
                      </a:cubicBezTo>
                      <a:cubicBezTo>
                        <a:pt x="374" y="906"/>
                        <a:pt x="374" y="901"/>
                        <a:pt x="374" y="905"/>
                      </a:cubicBezTo>
                      <a:cubicBezTo>
                        <a:pt x="375" y="893"/>
                        <a:pt x="374" y="882"/>
                        <a:pt x="374" y="871"/>
                      </a:cubicBezTo>
                      <a:cubicBezTo>
                        <a:pt x="375" y="873"/>
                        <a:pt x="375" y="873"/>
                        <a:pt x="375" y="873"/>
                      </a:cubicBezTo>
                      <a:cubicBezTo>
                        <a:pt x="375" y="865"/>
                        <a:pt x="374" y="871"/>
                        <a:pt x="374" y="863"/>
                      </a:cubicBezTo>
                      <a:cubicBezTo>
                        <a:pt x="374" y="859"/>
                        <a:pt x="375" y="863"/>
                        <a:pt x="375" y="862"/>
                      </a:cubicBezTo>
                      <a:cubicBezTo>
                        <a:pt x="374" y="845"/>
                        <a:pt x="375" y="827"/>
                        <a:pt x="374" y="810"/>
                      </a:cubicBezTo>
                      <a:cubicBezTo>
                        <a:pt x="375" y="806"/>
                        <a:pt x="374" y="792"/>
                        <a:pt x="375" y="786"/>
                      </a:cubicBezTo>
                      <a:cubicBezTo>
                        <a:pt x="374" y="781"/>
                        <a:pt x="374" y="777"/>
                        <a:pt x="374" y="775"/>
                      </a:cubicBezTo>
                      <a:cubicBezTo>
                        <a:pt x="374" y="715"/>
                        <a:pt x="374" y="653"/>
                        <a:pt x="374" y="591"/>
                      </a:cubicBezTo>
                      <a:cubicBezTo>
                        <a:pt x="373" y="562"/>
                        <a:pt x="374" y="528"/>
                        <a:pt x="374" y="493"/>
                      </a:cubicBezTo>
                      <a:cubicBezTo>
                        <a:pt x="374" y="493"/>
                        <a:pt x="374" y="493"/>
                        <a:pt x="374" y="493"/>
                      </a:cubicBezTo>
                      <a:cubicBezTo>
                        <a:pt x="373" y="482"/>
                        <a:pt x="373" y="466"/>
                        <a:pt x="373" y="453"/>
                      </a:cubicBezTo>
                      <a:cubicBezTo>
                        <a:pt x="373" y="441"/>
                        <a:pt x="373" y="441"/>
                        <a:pt x="373" y="441"/>
                      </a:cubicBezTo>
                      <a:cubicBezTo>
                        <a:pt x="374" y="361"/>
                        <a:pt x="373" y="279"/>
                        <a:pt x="374" y="197"/>
                      </a:cubicBezTo>
                      <a:cubicBezTo>
                        <a:pt x="374" y="129"/>
                        <a:pt x="374" y="66"/>
                        <a:pt x="374" y="2"/>
                      </a:cubicBezTo>
                      <a:cubicBezTo>
                        <a:pt x="374" y="0"/>
                        <a:pt x="374" y="0"/>
                        <a:pt x="374" y="0"/>
                      </a:cubicBezTo>
                      <a:cubicBezTo>
                        <a:pt x="372" y="0"/>
                        <a:pt x="372" y="0"/>
                        <a:pt x="372" y="0"/>
                      </a:cubicBezTo>
                      <a:cubicBezTo>
                        <a:pt x="350" y="0"/>
                        <a:pt x="327" y="0"/>
                        <a:pt x="303" y="1"/>
                      </a:cubicBezTo>
                      <a:cubicBezTo>
                        <a:pt x="303" y="1"/>
                        <a:pt x="303" y="1"/>
                        <a:pt x="305" y="1"/>
                      </a:cubicBezTo>
                      <a:cubicBezTo>
                        <a:pt x="279" y="1"/>
                        <a:pt x="255" y="0"/>
                        <a:pt x="231" y="1"/>
                      </a:cubicBezTo>
                      <a:cubicBezTo>
                        <a:pt x="231" y="1"/>
                        <a:pt x="231" y="1"/>
                        <a:pt x="231" y="1"/>
                      </a:cubicBezTo>
                      <a:cubicBezTo>
                        <a:pt x="170" y="2"/>
                        <a:pt x="104" y="0"/>
                        <a:pt x="45" y="2"/>
                      </a:cubicBezTo>
                      <a:cubicBezTo>
                        <a:pt x="32" y="2"/>
                        <a:pt x="18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61"/>
                        <a:pt x="2" y="126"/>
                        <a:pt x="2" y="187"/>
                      </a:cubicBezTo>
                      <a:cubicBezTo>
                        <a:pt x="2" y="187"/>
                        <a:pt x="2" y="187"/>
                        <a:pt x="2" y="187"/>
                      </a:cubicBezTo>
                      <a:cubicBezTo>
                        <a:pt x="2" y="247"/>
                        <a:pt x="1" y="306"/>
                        <a:pt x="1" y="366"/>
                      </a:cubicBezTo>
                      <a:cubicBezTo>
                        <a:pt x="1" y="428"/>
                        <a:pt x="3" y="494"/>
                        <a:pt x="2" y="557"/>
                      </a:cubicBezTo>
                      <a:cubicBezTo>
                        <a:pt x="1" y="595"/>
                        <a:pt x="4" y="646"/>
                        <a:pt x="2" y="683"/>
                      </a:cubicBezTo>
                      <a:cubicBezTo>
                        <a:pt x="0" y="757"/>
                        <a:pt x="2" y="830"/>
                        <a:pt x="3" y="905"/>
                      </a:cubicBezTo>
                      <a:cubicBezTo>
                        <a:pt x="3" y="917"/>
                        <a:pt x="3" y="929"/>
                        <a:pt x="3" y="941"/>
                      </a:cubicBezTo>
                      <a:cubicBezTo>
                        <a:pt x="2" y="941"/>
                        <a:pt x="2" y="941"/>
                        <a:pt x="2" y="941"/>
                      </a:cubicBezTo>
                      <a:cubicBezTo>
                        <a:pt x="59" y="941"/>
                        <a:pt x="115" y="940"/>
                        <a:pt x="171" y="941"/>
                      </a:cubicBezTo>
                      <a:cubicBezTo>
                        <a:pt x="202" y="940"/>
                        <a:pt x="237" y="942"/>
                        <a:pt x="272" y="942"/>
                      </a:cubicBezTo>
                      <a:cubicBezTo>
                        <a:pt x="271" y="941"/>
                        <a:pt x="271" y="941"/>
                        <a:pt x="271" y="941"/>
                      </a:cubicBezTo>
                      <a:cubicBezTo>
                        <a:pt x="284" y="942"/>
                        <a:pt x="299" y="940"/>
                        <a:pt x="307" y="941"/>
                      </a:cubicBezTo>
                      <a:cubicBezTo>
                        <a:pt x="306" y="941"/>
                        <a:pt x="306" y="941"/>
                        <a:pt x="306" y="941"/>
                      </a:cubicBezTo>
                      <a:cubicBezTo>
                        <a:pt x="313" y="942"/>
                        <a:pt x="321" y="940"/>
                        <a:pt x="325" y="941"/>
                      </a:cubicBezTo>
                      <a:cubicBezTo>
                        <a:pt x="327" y="940"/>
                        <a:pt x="327" y="940"/>
                        <a:pt x="327" y="940"/>
                      </a:cubicBezTo>
                      <a:cubicBezTo>
                        <a:pt x="335" y="940"/>
                        <a:pt x="327" y="941"/>
                        <a:pt x="334" y="941"/>
                      </a:cubicBezTo>
                      <a:cubicBezTo>
                        <a:pt x="336" y="941"/>
                        <a:pt x="335" y="940"/>
                        <a:pt x="340" y="940"/>
                      </a:cubicBezTo>
                      <a:cubicBezTo>
                        <a:pt x="341" y="942"/>
                        <a:pt x="359" y="940"/>
                        <a:pt x="360" y="942"/>
                      </a:cubicBezTo>
                      <a:cubicBezTo>
                        <a:pt x="356" y="942"/>
                        <a:pt x="367" y="942"/>
                        <a:pt x="357" y="943"/>
                      </a:cubicBezTo>
                      <a:cubicBezTo>
                        <a:pt x="360" y="943"/>
                        <a:pt x="373" y="943"/>
                        <a:pt x="372" y="942"/>
                      </a:cubicBezTo>
                      <a:cubicBezTo>
                        <a:pt x="373" y="941"/>
                        <a:pt x="379" y="941"/>
                        <a:pt x="370" y="940"/>
                      </a:cubicBezTo>
                      <a:cubicBezTo>
                        <a:pt x="369" y="941"/>
                        <a:pt x="369" y="941"/>
                        <a:pt x="369" y="941"/>
                      </a:cubicBezTo>
                      <a:cubicBezTo>
                        <a:pt x="366" y="940"/>
                        <a:pt x="367" y="940"/>
                        <a:pt x="366" y="940"/>
                      </a:cubicBezTo>
                      <a:cubicBezTo>
                        <a:pt x="355" y="940"/>
                        <a:pt x="353" y="939"/>
                        <a:pt x="346" y="939"/>
                      </a:cubicBezTo>
                      <a:cubicBezTo>
                        <a:pt x="346" y="939"/>
                        <a:pt x="346" y="939"/>
                        <a:pt x="346" y="939"/>
                      </a:cubicBezTo>
                      <a:cubicBezTo>
                        <a:pt x="340" y="940"/>
                        <a:pt x="333" y="939"/>
                        <a:pt x="329" y="939"/>
                      </a:cubicBezTo>
                      <a:cubicBezTo>
                        <a:pt x="327" y="939"/>
                        <a:pt x="327" y="939"/>
                        <a:pt x="327" y="939"/>
                      </a:cubicBezTo>
                      <a:cubicBezTo>
                        <a:pt x="325" y="938"/>
                        <a:pt x="315" y="940"/>
                        <a:pt x="318" y="939"/>
                      </a:cubicBezTo>
                      <a:cubicBezTo>
                        <a:pt x="296" y="939"/>
                        <a:pt x="271" y="939"/>
                        <a:pt x="247" y="939"/>
                      </a:cubicBezTo>
                      <a:cubicBezTo>
                        <a:pt x="243" y="940"/>
                        <a:pt x="228" y="939"/>
                        <a:pt x="233" y="940"/>
                      </a:cubicBezTo>
                      <a:cubicBezTo>
                        <a:pt x="227" y="939"/>
                        <a:pt x="209" y="939"/>
                        <a:pt x="202" y="939"/>
                      </a:cubicBezTo>
                      <a:cubicBezTo>
                        <a:pt x="202" y="939"/>
                        <a:pt x="203" y="939"/>
                        <a:pt x="204" y="939"/>
                      </a:cubicBezTo>
                      <a:cubicBezTo>
                        <a:pt x="191" y="938"/>
                        <a:pt x="188" y="940"/>
                        <a:pt x="176" y="938"/>
                      </a:cubicBezTo>
                      <a:cubicBezTo>
                        <a:pt x="174" y="939"/>
                        <a:pt x="153" y="938"/>
                        <a:pt x="146" y="939"/>
                      </a:cubicBezTo>
                      <a:cubicBezTo>
                        <a:pt x="145" y="939"/>
                        <a:pt x="144" y="939"/>
                        <a:pt x="145" y="939"/>
                      </a:cubicBezTo>
                      <a:cubicBezTo>
                        <a:pt x="123" y="939"/>
                        <a:pt x="98" y="938"/>
                        <a:pt x="80" y="938"/>
                      </a:cubicBezTo>
                      <a:cubicBezTo>
                        <a:pt x="64" y="939"/>
                        <a:pt x="41" y="938"/>
                        <a:pt x="27" y="939"/>
                      </a:cubicBezTo>
                      <a:cubicBezTo>
                        <a:pt x="21" y="939"/>
                        <a:pt x="12" y="939"/>
                        <a:pt x="2" y="939"/>
                      </a:cubicBezTo>
                      <a:cubicBezTo>
                        <a:pt x="3" y="939"/>
                        <a:pt x="4" y="940"/>
                        <a:pt x="5" y="941"/>
                      </a:cubicBezTo>
                      <a:cubicBezTo>
                        <a:pt x="5" y="934"/>
                        <a:pt x="5" y="927"/>
                        <a:pt x="4" y="920"/>
                      </a:cubicBezTo>
                      <a:cubicBezTo>
                        <a:pt x="5" y="922"/>
                        <a:pt x="5" y="922"/>
                        <a:pt x="5" y="922"/>
                      </a:cubicBezTo>
                      <a:cubicBezTo>
                        <a:pt x="5" y="904"/>
                        <a:pt x="4" y="881"/>
                        <a:pt x="4" y="869"/>
                      </a:cubicBezTo>
                      <a:cubicBezTo>
                        <a:pt x="5" y="864"/>
                        <a:pt x="5" y="856"/>
                        <a:pt x="5" y="848"/>
                      </a:cubicBezTo>
                      <a:cubicBezTo>
                        <a:pt x="4" y="836"/>
                        <a:pt x="5" y="812"/>
                        <a:pt x="4" y="793"/>
                      </a:cubicBezTo>
                      <a:cubicBezTo>
                        <a:pt x="5" y="791"/>
                        <a:pt x="4" y="778"/>
                        <a:pt x="5" y="777"/>
                      </a:cubicBezTo>
                      <a:cubicBezTo>
                        <a:pt x="3" y="726"/>
                        <a:pt x="4" y="663"/>
                        <a:pt x="5" y="608"/>
                      </a:cubicBezTo>
                      <a:cubicBezTo>
                        <a:pt x="5" y="609"/>
                        <a:pt x="5" y="609"/>
                        <a:pt x="5" y="609"/>
                      </a:cubicBezTo>
                      <a:cubicBezTo>
                        <a:pt x="4" y="602"/>
                        <a:pt x="4" y="593"/>
                        <a:pt x="3" y="586"/>
                      </a:cubicBezTo>
                      <a:cubicBezTo>
                        <a:pt x="3" y="585"/>
                        <a:pt x="3" y="585"/>
                        <a:pt x="3" y="587"/>
                      </a:cubicBezTo>
                      <a:cubicBezTo>
                        <a:pt x="3" y="577"/>
                        <a:pt x="4" y="568"/>
                        <a:pt x="4" y="558"/>
                      </a:cubicBezTo>
                      <a:cubicBezTo>
                        <a:pt x="4" y="558"/>
                        <a:pt x="4" y="558"/>
                        <a:pt x="4" y="559"/>
                      </a:cubicBezTo>
                      <a:cubicBezTo>
                        <a:pt x="4" y="550"/>
                        <a:pt x="5" y="540"/>
                        <a:pt x="4" y="529"/>
                      </a:cubicBezTo>
                      <a:cubicBezTo>
                        <a:pt x="4" y="528"/>
                        <a:pt x="4" y="528"/>
                        <a:pt x="4" y="528"/>
                      </a:cubicBezTo>
                      <a:cubicBezTo>
                        <a:pt x="4" y="521"/>
                        <a:pt x="4" y="521"/>
                        <a:pt x="4" y="521"/>
                      </a:cubicBezTo>
                      <a:cubicBezTo>
                        <a:pt x="4" y="521"/>
                        <a:pt x="4" y="522"/>
                        <a:pt x="4" y="525"/>
                      </a:cubicBezTo>
                      <a:cubicBezTo>
                        <a:pt x="5" y="439"/>
                        <a:pt x="3" y="351"/>
                        <a:pt x="3" y="263"/>
                      </a:cubicBezTo>
                      <a:cubicBezTo>
                        <a:pt x="4" y="266"/>
                        <a:pt x="4" y="266"/>
                        <a:pt x="4" y="266"/>
                      </a:cubicBezTo>
                      <a:cubicBezTo>
                        <a:pt x="3" y="249"/>
                        <a:pt x="3" y="249"/>
                        <a:pt x="3" y="249"/>
                      </a:cubicBezTo>
                      <a:cubicBezTo>
                        <a:pt x="3" y="249"/>
                        <a:pt x="3" y="250"/>
                        <a:pt x="4" y="250"/>
                      </a:cubicBezTo>
                      <a:cubicBezTo>
                        <a:pt x="4" y="229"/>
                        <a:pt x="3" y="206"/>
                        <a:pt x="3" y="185"/>
                      </a:cubicBezTo>
                      <a:cubicBezTo>
                        <a:pt x="4" y="185"/>
                        <a:pt x="4" y="188"/>
                        <a:pt x="4" y="185"/>
                      </a:cubicBezTo>
                      <a:cubicBezTo>
                        <a:pt x="3" y="169"/>
                        <a:pt x="5" y="160"/>
                        <a:pt x="3" y="152"/>
                      </a:cubicBezTo>
                      <a:cubicBezTo>
                        <a:pt x="3" y="151"/>
                        <a:pt x="4" y="151"/>
                        <a:pt x="4" y="152"/>
                      </a:cubicBezTo>
                      <a:cubicBezTo>
                        <a:pt x="3" y="109"/>
                        <a:pt x="3" y="64"/>
                        <a:pt x="4" y="20"/>
                      </a:cubicBezTo>
                      <a:cubicBezTo>
                        <a:pt x="3" y="14"/>
                        <a:pt x="3" y="8"/>
                        <a:pt x="3" y="2"/>
                      </a:cubicBezTo>
                      <a:cubicBezTo>
                        <a:pt x="3" y="2"/>
                        <a:pt x="3" y="3"/>
                        <a:pt x="2" y="3"/>
                      </a:cubicBezTo>
                      <a:cubicBezTo>
                        <a:pt x="34" y="2"/>
                        <a:pt x="68" y="3"/>
                        <a:pt x="100" y="2"/>
                      </a:cubicBezTo>
                      <a:cubicBezTo>
                        <a:pt x="100" y="3"/>
                        <a:pt x="100" y="3"/>
                        <a:pt x="100" y="3"/>
                      </a:cubicBezTo>
                      <a:cubicBezTo>
                        <a:pt x="149" y="2"/>
                        <a:pt x="202" y="3"/>
                        <a:pt x="253" y="2"/>
                      </a:cubicBezTo>
                      <a:cubicBezTo>
                        <a:pt x="274" y="3"/>
                        <a:pt x="288" y="2"/>
                        <a:pt x="310" y="2"/>
                      </a:cubicBezTo>
                      <a:cubicBezTo>
                        <a:pt x="310" y="3"/>
                        <a:pt x="310" y="3"/>
                        <a:pt x="310" y="3"/>
                      </a:cubicBezTo>
                      <a:cubicBezTo>
                        <a:pt x="330" y="2"/>
                        <a:pt x="351" y="2"/>
                        <a:pt x="372" y="3"/>
                      </a:cubicBezTo>
                      <a:cubicBezTo>
                        <a:pt x="372" y="2"/>
                        <a:pt x="372" y="2"/>
                        <a:pt x="372" y="2"/>
                      </a:cubicBezTo>
                      <a:cubicBezTo>
                        <a:pt x="371" y="19"/>
                        <a:pt x="371" y="36"/>
                        <a:pt x="372" y="53"/>
                      </a:cubicBezTo>
                      <a:cubicBezTo>
                        <a:pt x="371" y="51"/>
                        <a:pt x="371" y="51"/>
                        <a:pt x="371" y="51"/>
                      </a:cubicBezTo>
                      <a:cubicBezTo>
                        <a:pt x="372" y="56"/>
                        <a:pt x="371" y="73"/>
                        <a:pt x="372" y="71"/>
                      </a:cubicBezTo>
                      <a:cubicBezTo>
                        <a:pt x="372" y="78"/>
                        <a:pt x="372" y="78"/>
                        <a:pt x="372" y="78"/>
                      </a:cubicBezTo>
                      <a:cubicBezTo>
                        <a:pt x="374" y="103"/>
                        <a:pt x="371" y="124"/>
                        <a:pt x="372" y="155"/>
                      </a:cubicBezTo>
                      <a:cubicBezTo>
                        <a:pt x="372" y="153"/>
                        <a:pt x="372" y="153"/>
                        <a:pt x="372" y="153"/>
                      </a:cubicBezTo>
                      <a:cubicBezTo>
                        <a:pt x="372" y="161"/>
                        <a:pt x="372" y="171"/>
                        <a:pt x="372" y="177"/>
                      </a:cubicBezTo>
                      <a:cubicBezTo>
                        <a:pt x="372" y="176"/>
                        <a:pt x="372" y="177"/>
                        <a:pt x="372" y="175"/>
                      </a:cubicBezTo>
                      <a:cubicBezTo>
                        <a:pt x="371" y="201"/>
                        <a:pt x="372" y="230"/>
                        <a:pt x="372" y="257"/>
                      </a:cubicBezTo>
                      <a:cubicBezTo>
                        <a:pt x="371" y="254"/>
                        <a:pt x="371" y="254"/>
                        <a:pt x="371" y="254"/>
                      </a:cubicBezTo>
                      <a:cubicBezTo>
                        <a:pt x="372" y="267"/>
                        <a:pt x="372" y="292"/>
                        <a:pt x="372" y="309"/>
                      </a:cubicBezTo>
                      <a:cubicBezTo>
                        <a:pt x="372" y="308"/>
                        <a:pt x="372" y="308"/>
                        <a:pt x="372" y="308"/>
                      </a:cubicBezTo>
                      <a:cubicBezTo>
                        <a:pt x="372" y="317"/>
                        <a:pt x="372" y="317"/>
                        <a:pt x="372" y="317"/>
                      </a:cubicBezTo>
                      <a:cubicBezTo>
                        <a:pt x="371" y="317"/>
                        <a:pt x="371" y="317"/>
                        <a:pt x="371" y="317"/>
                      </a:cubicBezTo>
                      <a:cubicBezTo>
                        <a:pt x="371" y="340"/>
                        <a:pt x="372" y="361"/>
                        <a:pt x="372" y="3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80682" tIns="40341" rIns="80682" bIns="4034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90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00277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63" name="Picture 162"/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 rot="10740000">
                  <a:off x="1810903" y="5980027"/>
                  <a:ext cx="139050" cy="11431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  <p:sp>
          <p:nvSpPr>
            <p:cNvPr id="39" name="Rectangle 38"/>
            <p:cNvSpPr/>
            <p:nvPr/>
          </p:nvSpPr>
          <p:spPr>
            <a:xfrm>
              <a:off x="2510043" y="4538990"/>
              <a:ext cx="790644" cy="2739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8990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2776"/>
                  </a:solidFill>
                  <a:effectLst/>
                  <a:uLnTx/>
                  <a:uFillTx/>
                  <a:latin typeface="Segoe UI" panose="020B0502040204020203" pitchFamily="34" charset="0"/>
                  <a:ea typeface="Calibri" panose="020F0502020204030204" pitchFamily="34" charset="0"/>
                  <a:cs typeface="Segoe UI" panose="020B0502040204020203" pitchFamily="34" charset="0"/>
                </a:rPr>
                <a:t>customer</a:t>
              </a:r>
              <a:endParaRPr kumimoji="0" lang="en-CA" sz="971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Rectangle 164"/>
            <p:cNvSpPr/>
            <p:nvPr/>
          </p:nvSpPr>
          <p:spPr>
            <a:xfrm>
              <a:off x="3043443" y="4996190"/>
              <a:ext cx="708891" cy="273964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marL="0" marR="0" lvl="0" indent="0" algn="l" defTabSz="8990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72C7E7"/>
                  </a:solidFill>
                  <a:effectLst/>
                  <a:uLnTx/>
                  <a:uFillTx/>
                  <a:latin typeface="Segoe UI" panose="020B0502040204020203" pitchFamily="34" charset="0"/>
                  <a:ea typeface="Calibri" panose="020F0502020204030204" pitchFamily="34" charset="0"/>
                  <a:cs typeface="Segoe UI" panose="020B0502040204020203" pitchFamily="34" charset="0"/>
                </a:rPr>
                <a:t>supplier</a:t>
              </a:r>
              <a:endParaRPr kumimoji="0" lang="en-CA" sz="971" b="0" i="0" u="none" strike="noStrike" kern="1200" cap="none" spc="0" normalizeH="0" baseline="0" noProof="0" dirty="0">
                <a:ln>
                  <a:noFill/>
                </a:ln>
                <a:solidFill>
                  <a:srgbClr val="72C7E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731340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376B6B-164C-44A6-80EE-439FB6311E9C}"/>
              </a:ext>
            </a:extLst>
          </p:cNvPr>
          <p:cNvSpPr/>
          <p:nvPr/>
        </p:nvSpPr>
        <p:spPr>
          <a:xfrm>
            <a:off x="611560" y="2636912"/>
            <a:ext cx="804965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ke improvements to your model based on the practices that apply to your con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cialize with team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33D2887-D68A-406C-9437-3844A42C9011}"/>
              </a:ext>
            </a:extLst>
          </p:cNvPr>
          <p:cNvSpPr txBox="1">
            <a:spLocks/>
          </p:cNvSpPr>
          <p:nvPr/>
        </p:nvSpPr>
        <p:spPr>
          <a:xfrm>
            <a:off x="395536" y="2132856"/>
            <a:ext cx="841248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Exercise: refine your Model based on the best practices above</a:t>
            </a:r>
            <a:endParaRPr kumimoji="0" lang="en-US" sz="1412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6896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A" dirty="0"/>
              <a:t>Domain Modelling with CRC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477250" y="6605868"/>
            <a:ext cx="532279" cy="163886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CB195-FDE1-4330-95FD-5BB79EF58721}" type="slidenum">
              <a:rPr kumimoji="0" lang="en-CA" sz="1800" b="0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58350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61B1625-4024-4EE7-BE43-7CF3A0FA56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90" y="7288"/>
            <a:ext cx="9144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C2C5898-EC01-48EB-95F6-012CB34DE12E}"/>
              </a:ext>
            </a:extLst>
          </p:cNvPr>
          <p:cNvSpPr txBox="1"/>
          <p:nvPr/>
        </p:nvSpPr>
        <p:spPr>
          <a:xfrm>
            <a:off x="467544" y="-5680"/>
            <a:ext cx="7704856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 pitchFamily="34" charset="0"/>
              </a:rPr>
              <a:t>Starting Simple: Using A Domain model to elaborate on our story map</a:t>
            </a:r>
          </a:p>
        </p:txBody>
      </p:sp>
    </p:spTree>
    <p:extLst>
      <p:ext uri="{BB962C8B-B14F-4D97-AF65-F5344CB8AC3E}">
        <p14:creationId xmlns:p14="http://schemas.microsoft.com/office/powerpoint/2010/main" val="10395482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C2C5898-EC01-48EB-95F6-012CB34DE12E}"/>
              </a:ext>
            </a:extLst>
          </p:cNvPr>
          <p:cNvSpPr txBox="1"/>
          <p:nvPr/>
        </p:nvSpPr>
        <p:spPr>
          <a:xfrm>
            <a:off x="467544" y="-5680"/>
            <a:ext cx="7704856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Starting Simple: Using A Domain model to elaborate on our story map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9695C5A-0E6F-4DF6-BBD5-E3D86816DAAB}"/>
              </a:ext>
            </a:extLst>
          </p:cNvPr>
          <p:cNvSpPr/>
          <p:nvPr/>
        </p:nvSpPr>
        <p:spPr bwMode="auto">
          <a:xfrm>
            <a:off x="2303748" y="3140968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Payments Custom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AD7A123-D2C8-4CB6-9972-F825DD38871F}"/>
              </a:ext>
            </a:extLst>
          </p:cNvPr>
          <p:cNvSpPr/>
          <p:nvPr/>
        </p:nvSpPr>
        <p:spPr bwMode="auto">
          <a:xfrm>
            <a:off x="2303748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Sign Up For Payments Produc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608226-9842-442B-B6A8-34B394FC7E1E}"/>
              </a:ext>
            </a:extLst>
          </p:cNvPr>
          <p:cNvSpPr/>
          <p:nvPr/>
        </p:nvSpPr>
        <p:spPr bwMode="auto">
          <a:xfrm>
            <a:off x="3455876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Make A Pay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36113D-6565-40F1-B96D-F7470F5F7475}"/>
              </a:ext>
            </a:extLst>
          </p:cNvPr>
          <p:cNvSpPr/>
          <p:nvPr/>
        </p:nvSpPr>
        <p:spPr bwMode="auto">
          <a:xfrm>
            <a:off x="4608004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Reverse A Pay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AE2AFB2-99E1-4813-8D9A-7031E81E9E9C}"/>
              </a:ext>
            </a:extLst>
          </p:cNvPr>
          <p:cNvSpPr/>
          <p:nvPr/>
        </p:nvSpPr>
        <p:spPr bwMode="auto">
          <a:xfrm>
            <a:off x="5976156" y="3140968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Payments Admi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F5F1C3B-ABEE-4113-AFB4-2DE7308B5801}"/>
              </a:ext>
            </a:extLst>
          </p:cNvPr>
          <p:cNvSpPr/>
          <p:nvPr/>
        </p:nvSpPr>
        <p:spPr bwMode="auto">
          <a:xfrm>
            <a:off x="5976156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Review Customer Paymen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8376C6-3E46-43CB-8A3D-000EA421A9F9}"/>
              </a:ext>
            </a:extLst>
          </p:cNvPr>
          <p:cNvSpPr/>
          <p:nvPr/>
        </p:nvSpPr>
        <p:spPr bwMode="auto">
          <a:xfrm>
            <a:off x="7200292" y="3773218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Maintain Customer</a:t>
            </a:r>
          </a:p>
        </p:txBody>
      </p:sp>
    </p:spTree>
    <p:extLst>
      <p:ext uri="{BB962C8B-B14F-4D97-AF65-F5344CB8AC3E}">
        <p14:creationId xmlns:p14="http://schemas.microsoft.com/office/powerpoint/2010/main" val="33859732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C2C5898-EC01-48EB-95F6-012CB34DE12E}"/>
              </a:ext>
            </a:extLst>
          </p:cNvPr>
          <p:cNvSpPr txBox="1"/>
          <p:nvPr/>
        </p:nvSpPr>
        <p:spPr>
          <a:xfrm>
            <a:off x="467544" y="-5680"/>
            <a:ext cx="7704856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00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j-ea"/>
                <a:cs typeface="Arial" pitchFamily="34" charset="0"/>
              </a:rPr>
              <a:t>Starting Simple: Using A Domain model to elaborate on our story map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7B152A1-3B69-4729-AAE7-4190A2C623A8}"/>
              </a:ext>
            </a:extLst>
          </p:cNvPr>
          <p:cNvSpPr/>
          <p:nvPr/>
        </p:nvSpPr>
        <p:spPr bwMode="auto">
          <a:xfrm>
            <a:off x="2303748" y="3140968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Payments Custom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B870B26-4F3B-43E7-B7D2-EB1C0CE37F18}"/>
              </a:ext>
            </a:extLst>
          </p:cNvPr>
          <p:cNvSpPr/>
          <p:nvPr/>
        </p:nvSpPr>
        <p:spPr bwMode="auto">
          <a:xfrm>
            <a:off x="2303748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Sign Up For Payments Produc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906723-8627-4722-A9E0-210F25ACBA2A}"/>
              </a:ext>
            </a:extLst>
          </p:cNvPr>
          <p:cNvSpPr/>
          <p:nvPr/>
        </p:nvSpPr>
        <p:spPr bwMode="auto">
          <a:xfrm>
            <a:off x="3455876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Make A Pay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6F32F6-456F-4456-98DD-314DF5B8DAF9}"/>
              </a:ext>
            </a:extLst>
          </p:cNvPr>
          <p:cNvSpPr/>
          <p:nvPr/>
        </p:nvSpPr>
        <p:spPr bwMode="auto">
          <a:xfrm>
            <a:off x="4608004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Reverse A Paym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2896BA-068F-47DC-8B45-3EC96A6185D1}"/>
              </a:ext>
            </a:extLst>
          </p:cNvPr>
          <p:cNvSpPr/>
          <p:nvPr/>
        </p:nvSpPr>
        <p:spPr bwMode="auto">
          <a:xfrm>
            <a:off x="5976156" y="3140968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Payments Admi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2CC4DB-A5AC-40CD-9CA1-89EFB6B0A5FB}"/>
              </a:ext>
            </a:extLst>
          </p:cNvPr>
          <p:cNvSpPr/>
          <p:nvPr/>
        </p:nvSpPr>
        <p:spPr bwMode="auto">
          <a:xfrm>
            <a:off x="5976156" y="3789040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Review Customer Paym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9B0159-619C-4560-8AC7-5FE38C9DD8C0}"/>
              </a:ext>
            </a:extLst>
          </p:cNvPr>
          <p:cNvSpPr/>
          <p:nvPr/>
        </p:nvSpPr>
        <p:spPr bwMode="auto">
          <a:xfrm>
            <a:off x="7200292" y="3773218"/>
            <a:ext cx="1080120" cy="57606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Maintain Custom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401045F-F65E-4FF9-9DA8-A9919B6D342E}"/>
              </a:ext>
            </a:extLst>
          </p:cNvPr>
          <p:cNvSpPr/>
          <p:nvPr/>
        </p:nvSpPr>
        <p:spPr bwMode="auto">
          <a:xfrm>
            <a:off x="1374556" y="908720"/>
            <a:ext cx="1872208" cy="1728192"/>
          </a:xfrm>
          <a:prstGeom prst="rect">
            <a:avLst/>
          </a:prstGeom>
          <a:solidFill>
            <a:srgbClr val="DDDDDD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What do  we mean by a payments customer?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12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,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User? Company? Department?  Representative?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12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,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How Do we ID one?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B437981-6B97-418B-ACCC-D9DD6B59A06B}"/>
              </a:ext>
            </a:extLst>
          </p:cNvPr>
          <p:cNvCxnSpPr>
            <a:cxnSpLocks/>
          </p:cNvCxnSpPr>
          <p:nvPr/>
        </p:nvCxnSpPr>
        <p:spPr bwMode="auto">
          <a:xfrm>
            <a:off x="2940382" y="2708920"/>
            <a:ext cx="0" cy="432048"/>
          </a:xfrm>
          <a:prstGeom prst="straightConnector1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E66F0E8B-B5F3-4DCB-9614-CD8CBBB197F5}"/>
              </a:ext>
            </a:extLst>
          </p:cNvPr>
          <p:cNvSpPr/>
          <p:nvPr/>
        </p:nvSpPr>
        <p:spPr bwMode="auto">
          <a:xfrm>
            <a:off x="3059832" y="4941168"/>
            <a:ext cx="1872208" cy="1728192"/>
          </a:xfrm>
          <a:prstGeom prst="rect">
            <a:avLst/>
          </a:prstGeom>
          <a:solidFill>
            <a:srgbClr val="DDDDDD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What Information is required to make a payment?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12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,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What needs to be tracked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CA" sz="12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,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,"/>
                <a:ea typeface="+mn-ea"/>
                <a:cs typeface="+mn-cs"/>
              </a:rPr>
              <a:t>What States can a Payment have?</a:t>
            </a:r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555BB9A0-C7FA-46B5-8428-EF9887EFC9F6}"/>
              </a:ext>
            </a:extLst>
          </p:cNvPr>
          <p:cNvCxnSpPr>
            <a:stCxn id="15" idx="3"/>
            <a:endCxn id="12" idx="0"/>
          </p:cNvCxnSpPr>
          <p:nvPr/>
        </p:nvCxnSpPr>
        <p:spPr bwMode="auto">
          <a:xfrm>
            <a:off x="3246764" y="1772816"/>
            <a:ext cx="4493588" cy="2000402"/>
          </a:xfrm>
          <a:prstGeom prst="bentConnector2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30A6CAC-9486-4F2E-90E9-DE83515EA56C}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3995936" y="4437112"/>
            <a:ext cx="0" cy="432048"/>
          </a:xfrm>
          <a:prstGeom prst="straightConnector1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6EA0B6B1-AD86-4B4A-94AC-419F07213DEF}"/>
              </a:ext>
            </a:extLst>
          </p:cNvPr>
          <p:cNvCxnSpPr>
            <a:cxnSpLocks/>
            <a:stCxn id="17" idx="3"/>
            <a:endCxn id="12" idx="2"/>
          </p:cNvCxnSpPr>
          <p:nvPr/>
        </p:nvCxnSpPr>
        <p:spPr bwMode="auto">
          <a:xfrm flipV="1">
            <a:off x="4932040" y="4349282"/>
            <a:ext cx="2808312" cy="1455982"/>
          </a:xfrm>
          <a:prstGeom prst="bentConnector2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458545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L1YhNA2kOTMBeLVYlQ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Economical Master">
  <a:themeElements>
    <a:clrScheme name="2_Brand VI">
      <a:dk1>
        <a:srgbClr val="002776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C9DD03"/>
      </a:accent4>
      <a:accent5>
        <a:srgbClr val="3C8A2E"/>
      </a:accent5>
      <a:accent6>
        <a:srgbClr val="72C7E7"/>
      </a:accent6>
      <a:hlink>
        <a:srgbClr val="00A1DE"/>
      </a:hlink>
      <a:folHlink>
        <a:srgbClr val="72C7E7"/>
      </a:folHlink>
    </a:clrScheme>
    <a:fontScheme name="Deloitt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cap="flat" cmpd="sng" algn="ctr">
          <a:solidFill>
            <a:schemeClr val="accent3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200" b="0" i="0" u="none" strike="noStrike" cap="none" normalizeH="0" baseline="0" dirty="0" smtClean="0">
            <a:ln>
              <a:noFill/>
            </a:ln>
            <a:solidFill>
              <a:schemeClr val="accent3">
                <a:lumMod val="75000"/>
              </a:schemeClr>
            </a:solidFill>
            <a:effectLst/>
            <a:latin typeface="+mn-lt"/>
          </a:defRPr>
        </a:defPPr>
      </a:lstStyle>
    </a:spDef>
    <a:lnDef>
      <a:spPr bwMode="auto">
        <a:noFill/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45720" tIns="45720" rIns="45720" bIns="45720" rtlCol="0">
        <a:noAutofit/>
      </a:bodyPr>
      <a:lstStyle>
        <a:defPPr>
          <a:spcAft>
            <a:spcPts val="300"/>
          </a:spcAft>
          <a:defRPr sz="1200" dirty="0" smtClean="0"/>
        </a:defPPr>
      </a:lstStyle>
    </a:txDef>
  </a:objectDefaults>
  <a:extraClrSchemeLst>
    <a:extraClrScheme>
      <a:clrScheme name="Standard_white 1">
        <a:dk1>
          <a:srgbClr val="000066"/>
        </a:dk1>
        <a:lt1>
          <a:srgbClr val="E5E5CC"/>
        </a:lt1>
        <a:dk2>
          <a:srgbClr val="000066"/>
        </a:dk2>
        <a:lt2>
          <a:srgbClr val="E5E5CC"/>
        </a:lt2>
        <a:accent1>
          <a:srgbClr val="009999"/>
        </a:accent1>
        <a:accent2>
          <a:srgbClr val="FFCC00"/>
        </a:accent2>
        <a:accent3>
          <a:srgbClr val="F0F0E2"/>
        </a:accent3>
        <a:accent4>
          <a:srgbClr val="000056"/>
        </a:accent4>
        <a:accent5>
          <a:srgbClr val="AACACA"/>
        </a:accent5>
        <a:accent6>
          <a:srgbClr val="E7B900"/>
        </a:accent6>
        <a:hlink>
          <a:srgbClr val="003399"/>
        </a:hlink>
        <a:folHlink>
          <a:srgbClr val="33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CleanRibbon_MoreRE">
  <a:themeElements>
    <a:clrScheme name="Red">
      <a:dk1>
        <a:sysClr val="windowText" lastClr="000000"/>
      </a:dk1>
      <a:lt1>
        <a:sysClr val="window" lastClr="FFFFFF"/>
      </a:lt1>
      <a:dk2>
        <a:srgbClr val="323232"/>
      </a:dk2>
      <a:lt2>
        <a:srgbClr val="E5C243"/>
      </a:lt2>
      <a:accent1>
        <a:srgbClr val="A5300F"/>
      </a:accent1>
      <a:accent2>
        <a:srgbClr val="D55816"/>
      </a:accent2>
      <a:accent3>
        <a:srgbClr val="E19825"/>
      </a:accent3>
      <a:accent4>
        <a:srgbClr val="B19C7D"/>
      </a:accent4>
      <a:accent5>
        <a:srgbClr val="7F5F52"/>
      </a:accent5>
      <a:accent6>
        <a:srgbClr val="B27D4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se_mb_ppt_template_v6a">
  <a:themeElements>
    <a:clrScheme name="Suncor">
      <a:dk1>
        <a:srgbClr val="005596"/>
      </a:dk1>
      <a:lt1>
        <a:srgbClr val="FFFFFF"/>
      </a:lt1>
      <a:dk2>
        <a:srgbClr val="005596"/>
      </a:dk2>
      <a:lt2>
        <a:srgbClr val="FFFFFF"/>
      </a:lt2>
      <a:accent1>
        <a:srgbClr val="005596"/>
      </a:accent1>
      <a:accent2>
        <a:srgbClr val="FFC425"/>
      </a:accent2>
      <a:accent3>
        <a:srgbClr val="D57C1B"/>
      </a:accent3>
      <a:accent4>
        <a:srgbClr val="438A3D"/>
      </a:accent4>
      <a:accent5>
        <a:srgbClr val="2D8FD0"/>
      </a:accent5>
      <a:accent6>
        <a:srgbClr val="782241"/>
      </a:accent6>
      <a:hlink>
        <a:srgbClr val="2D8FD0"/>
      </a:hlink>
      <a:folHlink>
        <a:srgbClr val="6482B9"/>
      </a:folHlink>
    </a:clrScheme>
    <a:fontScheme name="Suncor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Custom Design">
  <a:themeElements>
    <a:clrScheme name="Scotia Colour Theme">
      <a:dk1>
        <a:srgbClr val="5A5A5A"/>
      </a:dk1>
      <a:lt1>
        <a:srgbClr val="FFFFFF"/>
      </a:lt1>
      <a:dk2>
        <a:srgbClr val="969696"/>
      </a:dk2>
      <a:lt2>
        <a:srgbClr val="5A5A5A"/>
      </a:lt2>
      <a:accent1>
        <a:srgbClr val="BEBEBE"/>
      </a:accent1>
      <a:accent2>
        <a:srgbClr val="5A5A5A"/>
      </a:accent2>
      <a:accent3>
        <a:srgbClr val="3D97C9"/>
      </a:accent3>
      <a:accent4>
        <a:srgbClr val="1F4A7E"/>
      </a:accent4>
      <a:accent5>
        <a:srgbClr val="85BD9F"/>
      </a:accent5>
      <a:accent6>
        <a:srgbClr val="0D875D"/>
      </a:accent6>
      <a:hlink>
        <a:srgbClr val="0070C0"/>
      </a:hlink>
      <a:folHlink>
        <a:srgbClr val="0020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Custom Design">
  <a:themeElements>
    <a:clrScheme name="Scotia Colour Theme">
      <a:dk1>
        <a:srgbClr val="5A5A5A"/>
      </a:dk1>
      <a:lt1>
        <a:srgbClr val="FFFFFF"/>
      </a:lt1>
      <a:dk2>
        <a:srgbClr val="969696"/>
      </a:dk2>
      <a:lt2>
        <a:srgbClr val="5A5A5A"/>
      </a:lt2>
      <a:accent1>
        <a:srgbClr val="BEBEBE"/>
      </a:accent1>
      <a:accent2>
        <a:srgbClr val="5A5A5A"/>
      </a:accent2>
      <a:accent3>
        <a:srgbClr val="3D97C9"/>
      </a:accent3>
      <a:accent4>
        <a:srgbClr val="1F4A7E"/>
      </a:accent4>
      <a:accent5>
        <a:srgbClr val="85BD9F"/>
      </a:accent5>
      <a:accent6>
        <a:srgbClr val="0D875D"/>
      </a:accent6>
      <a:hlink>
        <a:srgbClr val="0070C0"/>
      </a:hlink>
      <a:folHlink>
        <a:srgbClr val="0020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Grainger Master">
  <a:themeElements>
    <a:clrScheme name="2_Brand VI">
      <a:dk1>
        <a:srgbClr val="002776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C9DD03"/>
      </a:accent4>
      <a:accent5>
        <a:srgbClr val="3C8A2E"/>
      </a:accent5>
      <a:accent6>
        <a:srgbClr val="72C7E7"/>
      </a:accent6>
      <a:hlink>
        <a:srgbClr val="00A1DE"/>
      </a:hlink>
      <a:folHlink>
        <a:srgbClr val="72C7E7"/>
      </a:folHlink>
    </a:clrScheme>
    <a:fontScheme name="Deloitt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cap="flat" cmpd="sng" algn="ctr">
          <a:solidFill>
            <a:schemeClr val="accent3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200" b="0" i="0" u="none" strike="noStrike" cap="none" normalizeH="0" baseline="0" dirty="0" smtClean="0">
            <a:ln>
              <a:noFill/>
            </a:ln>
            <a:solidFill>
              <a:schemeClr val="accent3">
                <a:lumMod val="75000"/>
              </a:schemeClr>
            </a:solidFill>
            <a:effectLst/>
            <a:latin typeface="+mn-lt"/>
          </a:defRPr>
        </a:defPPr>
      </a:lstStyle>
    </a:spDef>
    <a:lnDef>
      <a:spPr bwMode="auto">
        <a:noFill/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45720" tIns="45720" rIns="45720" bIns="45720" rtlCol="0">
        <a:noAutofit/>
      </a:bodyPr>
      <a:lstStyle>
        <a:defPPr>
          <a:spcAft>
            <a:spcPts val="300"/>
          </a:spcAft>
          <a:defRPr sz="1200" dirty="0" smtClean="0"/>
        </a:defPPr>
      </a:lstStyle>
    </a:txDef>
  </a:objectDefaults>
  <a:extraClrSchemeLst>
    <a:extraClrScheme>
      <a:clrScheme name="Standard_white 1">
        <a:dk1>
          <a:srgbClr val="000066"/>
        </a:dk1>
        <a:lt1>
          <a:srgbClr val="E5E5CC"/>
        </a:lt1>
        <a:dk2>
          <a:srgbClr val="000066"/>
        </a:dk2>
        <a:lt2>
          <a:srgbClr val="E5E5CC"/>
        </a:lt2>
        <a:accent1>
          <a:srgbClr val="009999"/>
        </a:accent1>
        <a:accent2>
          <a:srgbClr val="FFCC00"/>
        </a:accent2>
        <a:accent3>
          <a:srgbClr val="F0F0E2"/>
        </a:accent3>
        <a:accent4>
          <a:srgbClr val="000056"/>
        </a:accent4>
        <a:accent5>
          <a:srgbClr val="AACACA"/>
        </a:accent5>
        <a:accent6>
          <a:srgbClr val="E7B900"/>
        </a:accent6>
        <a:hlink>
          <a:srgbClr val="003399"/>
        </a:hlink>
        <a:folHlink>
          <a:srgbClr val="33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Default Theme">
  <a:themeElements>
    <a:clrScheme name="Deloitte">
      <a:dk1>
        <a:srgbClr val="000066"/>
      </a:dk1>
      <a:lt1>
        <a:srgbClr val="E5E5CC"/>
      </a:lt1>
      <a:dk2>
        <a:srgbClr val="003399"/>
      </a:dk2>
      <a:lt2>
        <a:srgbClr val="E5E5CC"/>
      </a:lt2>
      <a:accent1>
        <a:srgbClr val="003399"/>
      </a:accent1>
      <a:accent2>
        <a:srgbClr val="6666FF"/>
      </a:accent2>
      <a:accent3>
        <a:srgbClr val="800080"/>
      </a:accent3>
      <a:accent4>
        <a:srgbClr val="996633"/>
      </a:accent4>
      <a:accent5>
        <a:srgbClr val="336600"/>
      </a:accent5>
      <a:accent6>
        <a:srgbClr val="FF9900"/>
      </a:accent6>
      <a:hlink>
        <a:srgbClr val="336699"/>
      </a:hlink>
      <a:folHlink>
        <a:srgbClr val="800080"/>
      </a:folHlink>
    </a:clrScheme>
    <a:fontScheme name="Standard_whit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Standard_white 1">
        <a:dk1>
          <a:srgbClr val="000066"/>
        </a:dk1>
        <a:lt1>
          <a:srgbClr val="E5E5CC"/>
        </a:lt1>
        <a:dk2>
          <a:srgbClr val="000066"/>
        </a:dk2>
        <a:lt2>
          <a:srgbClr val="E5E5CC"/>
        </a:lt2>
        <a:accent1>
          <a:srgbClr val="009999"/>
        </a:accent1>
        <a:accent2>
          <a:srgbClr val="FFCC00"/>
        </a:accent2>
        <a:accent3>
          <a:srgbClr val="F0F0E2"/>
        </a:accent3>
        <a:accent4>
          <a:srgbClr val="000056"/>
        </a:accent4>
        <a:accent5>
          <a:srgbClr val="AACACA"/>
        </a:accent5>
        <a:accent6>
          <a:srgbClr val="E7B900"/>
        </a:accent6>
        <a:hlink>
          <a:srgbClr val="003399"/>
        </a:hlink>
        <a:folHlink>
          <a:srgbClr val="33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FDB5AA50674E4DBFFCB3100445829E" ma:contentTypeVersion="15" ma:contentTypeDescription="Create a new document." ma:contentTypeScope="" ma:versionID="8192c2e7409c6f649eed2b81713c5de2">
  <xsd:schema xmlns:xsd="http://www.w3.org/2001/XMLSchema" xmlns:xs="http://www.w3.org/2001/XMLSchema" xmlns:p="http://schemas.microsoft.com/office/2006/metadata/properties" xmlns:ns2="a785ad58-1d57-4f8a-aa71-77170459bd0d" xmlns:ns3="cbb9b2fd-eb69-4a38-b8f5-db708bd03d43" xmlns:ns4="a114e750-377c-4f61-aded-07ab3645fc2f" targetNamespace="http://schemas.microsoft.com/office/2006/metadata/properties" ma:root="true" ma:fieldsID="9c60b0a177192121024f2523f1c64389" ns2:_="" ns3:_="" ns4:_="">
    <xsd:import namespace="a785ad58-1d57-4f8a-aa71-77170459bd0d"/>
    <xsd:import namespace="cbb9b2fd-eb69-4a38-b8f5-db708bd03d43"/>
    <xsd:import namespace="a114e750-377c-4f61-aded-07ab3645fc2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85ad58-1d57-4f8a-aa71-77170459bd0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_x0024_Resources_x003a_core_x002c_SharedWithFieldDisplayName_x003b_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9b2fd-eb69-4a38-b8f5-db708bd03d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217f90cb-bb06-4504-88d6-d49bec2e92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14e750-377c-4f61-aded-07ab3645fc2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f714df68-a67c-43c8-8c25-cf82d5fdc739}" ma:internalName="TaxCatchAll" ma:showField="CatchAllData" ma:web="a114e750-377c-4f61-aded-07ab3645fc2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bb9b2fd-eb69-4a38-b8f5-db708bd03d43">
      <Terms xmlns="http://schemas.microsoft.com/office/infopath/2007/PartnerControls"/>
    </lcf76f155ced4ddcb4097134ff3c332f>
    <TaxCatchAll xmlns="a114e750-377c-4f61-aded-07ab3645fc2f" xsi:nil="true"/>
  </documentManagement>
</p:properties>
</file>

<file path=customXml/itemProps1.xml><?xml version="1.0" encoding="utf-8"?>
<ds:datastoreItem xmlns:ds="http://schemas.openxmlformats.org/officeDocument/2006/customXml" ds:itemID="{114A606C-3170-4009-95DE-9698F4A027E6}"/>
</file>

<file path=customXml/itemProps2.xml><?xml version="1.0" encoding="utf-8"?>
<ds:datastoreItem xmlns:ds="http://schemas.openxmlformats.org/officeDocument/2006/customXml" ds:itemID="{2A578CD1-2221-4067-B305-C894A1D0E640}"/>
</file>

<file path=customXml/itemProps3.xml><?xml version="1.0" encoding="utf-8"?>
<ds:datastoreItem xmlns:ds="http://schemas.openxmlformats.org/officeDocument/2006/customXml" ds:itemID="{9DDC5B8F-7A10-4DFB-87EF-D2D167F45F02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46</TotalTime>
  <Words>2231</Words>
  <Application>Microsoft Office PowerPoint</Application>
  <PresentationFormat>On-screen Show (4:3)</PresentationFormat>
  <Paragraphs>272</Paragraphs>
  <Slides>5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75" baseType="lpstr">
      <vt:lpstr>Arial</vt:lpstr>
      <vt:lpstr>Ca,</vt:lpstr>
      <vt:lpstr>Calibri</vt:lpstr>
      <vt:lpstr>Calibri </vt:lpstr>
      <vt:lpstr>Calibri Light</vt:lpstr>
      <vt:lpstr>Caviar Dreams</vt:lpstr>
      <vt:lpstr>Comic Sans MS</vt:lpstr>
      <vt:lpstr>Segoe UI</vt:lpstr>
      <vt:lpstr>Times New Roman</vt:lpstr>
      <vt:lpstr>Verdana</vt:lpstr>
      <vt:lpstr>Wingdings</vt:lpstr>
      <vt:lpstr>Wingdings 2</vt:lpstr>
      <vt:lpstr>1_Custom Design</vt:lpstr>
      <vt:lpstr>1_Office Theme</vt:lpstr>
      <vt:lpstr>Custom Design</vt:lpstr>
      <vt:lpstr>3_se_mb_ppt_template_v6a</vt:lpstr>
      <vt:lpstr>3_Custom Design</vt:lpstr>
      <vt:lpstr>4_Custom Design</vt:lpstr>
      <vt:lpstr>Thème Office</vt:lpstr>
      <vt:lpstr>Grainger Master</vt:lpstr>
      <vt:lpstr>Default Theme</vt:lpstr>
      <vt:lpstr>1_Economical Master</vt:lpstr>
      <vt:lpstr>1_CleanRibbon_MoreRE</vt:lpstr>
      <vt:lpstr>think-cell Slide</vt:lpstr>
      <vt:lpstr>PowerPoint Presentation</vt:lpstr>
      <vt:lpstr>Domain Modeling With Class Responsibility Cards and Domain Driven Design</vt:lpstr>
      <vt:lpstr>The number one reason for failure of software projects is a failure of people to communicate</vt:lpstr>
      <vt:lpstr>The number one reason for failure of software projects is a failure of peopleto communicate</vt:lpstr>
      <vt:lpstr>Two Agile Methods Key to Building A Domain Model</vt:lpstr>
      <vt:lpstr>Domain Modelling with CRC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RC components 10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omain Modelling throughout the agile lifecyc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ining your Modelling</vt:lpstr>
      <vt:lpstr>PowerPoint Presentation</vt:lpstr>
      <vt:lpstr>When you have a many to many relationship, that is a STRONG signal that you need to create a card to represent the relationship</vt:lpstr>
      <vt:lpstr>Avoid dependency magnets; break up classes that have too many responsibilities into discrete domain concepts that match the business language used to describe different concepts being represented by the class</vt:lpstr>
      <vt:lpstr>Evolve “generic” responsibilities and collaborations into responsibilities that are domain driven, and express the business language involved</vt:lpstr>
      <vt:lpstr>Consider pushing behavior found in multiple places into a common class that describes the key domain concept common across domain subject areas; use inheritance to “inject” the common behavior into these subject areas</vt:lpstr>
      <vt:lpstr>When parts of your system are “configurable” consider moving the configurable part into a separate set of classes, known as a “meta layer”</vt:lpstr>
      <vt:lpstr>Always ground the conversation by walking the model through a scenario, repeat the scenario walk-through whenever getting “lost in the model</vt:lpstr>
      <vt:lpstr>When walking a CRC model in support of a user story or scenario, start with the class that represents a persona, person or role. Make sure that the responsibilities of this “boundary” class aligns to a user story on the story map</vt:lpstr>
      <vt:lpstr>Annotate the model with questions, and require clarifications, then make sure to update the model based on the answers</vt:lpstr>
      <vt:lpstr>Connect the model to architecture by “injecting” common functionality through inheritance, collect common behavior into a set of requirements that influence the choice of technology, patterns and/or APIs</vt:lpstr>
      <vt:lpstr>Establish boundaries of meaning across different teams and systems; calling out mapping and integration mechanism</vt:lpstr>
      <vt:lpstr>Use a deliberate strategy to ensure that models stay consistent within and across different team and system boundaries 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otiabank</dc:title>
  <dc:subject/>
  <dc:creator>Adeeb Dhanani</dc:creator>
  <cp:keywords/>
  <dc:description/>
  <cp:lastModifiedBy>Jeff Anderson</cp:lastModifiedBy>
  <cp:revision>368</cp:revision>
  <dcterms:created xsi:type="dcterms:W3CDTF">2016-04-12T12:24:53Z</dcterms:created>
  <dcterms:modified xsi:type="dcterms:W3CDTF">2021-03-25T16:33:5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FDB5AA50674E4DBFFCB3100445829E</vt:lpwstr>
  </property>
  <property fmtid="{D5CDD505-2E9C-101B-9397-08002B2CF9AE}" pid="3" name="Order">
    <vt:r8>1600</vt:r8>
  </property>
</Properties>
</file>